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4a" ContentType="audio/mp4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 autoCompressPictures="0" bookmarkIdSeed="3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2F"/>
    <a:srgbClr val="F5EFEC"/>
    <a:srgbClr val="F4EAE5"/>
    <a:srgbClr val="F0D9CC"/>
    <a:srgbClr val="DBA689"/>
    <a:srgbClr val="99693D"/>
    <a:srgbClr val="BE8B5D"/>
    <a:srgbClr val="C19265"/>
    <a:srgbClr val="CCC5B5"/>
    <a:srgbClr val="C483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262" autoAdjust="0"/>
    <p:restoredTop sz="94595"/>
  </p:normalViewPr>
  <p:slideViewPr>
    <p:cSldViewPr snapToGrid="0" snapToObjects="1">
      <p:cViewPr varScale="1">
        <p:scale>
          <a:sx n="68" d="100"/>
          <a:sy n="68" d="100"/>
        </p:scale>
        <p:origin x="73" y="40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E526BC5-AAD0-604E-87BC-F9E1D37F1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F7F47631-E1E4-6A4C-86EC-A66C7ADF8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1A65032-E68B-BA4C-80C2-368DAA05B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3079E93-9862-D74C-B96D-AA255F311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9772BDCD-DC5F-4E46-8345-A946B9B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2532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4D1E1CD-8795-FB42-8E7C-8071EF71E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0D02817A-FF28-C047-ADA5-676622A593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B89C79DB-5B60-E948-94E2-32372FDD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B492258-41E7-3141-B2BB-9271091DD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FED8592-8C17-F848-AB39-99B56813C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142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4145CD84-9F99-BB41-9B08-403B0D34E3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CE4C4DA9-C994-B847-9889-F875D1CB81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1EAC42B-CDE7-1644-B84C-1D79A300C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418CED16-823D-364E-B206-B184B6833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B6E3D6AC-CB9D-5C40-97DF-29A1E3BE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6958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008A5F-C541-8844-8C80-93D903171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5A38191-59ED-4D41-AB42-0C54DD460A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7934EDE-A2CF-2B48-97A3-8DD37EB6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874047-079B-CC45-B0DD-F7E54EEC7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D6BA46A-03D2-F147-B8E6-1F4750514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9940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BB3291-C8AF-3A4E-A8AC-FEBC1925C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2620AD-CBFA-174B-882A-2F13804058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344C3EC-5C0C-C846-817A-3322216F0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5DF01B80-BAF8-7B4F-92E3-F878C257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CB42565C-4827-4E43-B771-7272F2EF1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99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26FCDA1-FCC3-B94F-8D6A-83B98FB3E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9751FEE-02C4-724E-B108-D34489CA2C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D89AB24-1E2C-4F48-B84F-D58BF29BE3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F57FD548-CFE9-A245-BA6C-E594C958A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1EC21C41-F7F2-E842-8A3B-FBD78F5C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5FDE9E55-98C6-4044-8965-BF0AE8B28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869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363456-A546-A54B-B6AC-13F6C26E6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8A8B52-C645-FB40-AEF9-1124CA4B1C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298C6128-2EC5-6A4A-8440-CC6CD1851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5719B94B-95B1-124F-AD93-B15ADA1DC0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99F00E67-1628-094B-A8E2-11C75EB5D6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A39F819D-A39C-2849-98B1-702E7F941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AF2BAD48-32D4-AC4D-982D-222D690E0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F70979B6-3D6C-8743-8DC8-A44E2D26F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860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FD7DFF9-95E7-ED46-9B1D-362E8377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D6D1C61-4A42-314A-9A79-E437FE215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0AC08CC7-B235-8A48-8E40-640B6EEA9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0822AD74-9A3A-5448-8146-CFD51F589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53007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1115C201-69BD-4C4D-B919-04DE9AA3C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C22F11F9-D507-7344-B23B-D53F9298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6ED4681E-278F-C44F-84B6-86C69376F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929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EA705450-0F51-304D-8970-634E66E05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70D0E09D-B400-9B49-8997-4C3C6EF449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CE3D1130-FF6B-7649-B4A3-55482C10A1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D4E5841-D869-BC4A-BCC7-7E3D18AE6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B0A65CD-CFA4-8A45-819E-12B5F9351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0A3BCF1F-1FC9-B248-893B-ABAE3DFA1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536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94A3787-DF7E-2D4A-BFEA-69F0D44A3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A0C014EF-B0D5-CC42-9149-71CB162FBB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F84181D1-ACE8-434D-AD5F-4775EA8E6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84508D1C-E0E8-074A-94D2-0C05DB796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BCE5CB9B-5F16-DE44-9C81-B4A2756FA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CE6CDF4E-8F40-E54B-86EA-5CA17453E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4078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6EC3EF58-DAAE-064F-BCD1-576DBF76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6A7479F-AEBC-3F4C-A096-356ECD428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21BBB93-FCEE-774B-BE0F-3657DD896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7562A9-B88F-D347-9F83-73D3E63EBE4A}" type="datetimeFigureOut">
              <a:rPr lang="he-IL" smtClean="0"/>
              <a:t>ז'/סיון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1EAC6FA-3B90-FE43-A453-FCC275B8C7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D5BFA75-E9CF-7C43-AEB1-E3E9ACFD1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9760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audio" Target="NULL" TargetMode="Externa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3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7.jpeg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9.emf"/><Relationship Id="rId4" Type="http://schemas.microsoft.com/office/2007/relationships/media" Target="../media/media22.m4a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4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23.m4a"/><Relationship Id="rId7" Type="http://schemas.openxmlformats.org/officeDocument/2006/relationships/image" Target="../media/image41.png"/><Relationship Id="rId2" Type="http://schemas.openxmlformats.org/officeDocument/2006/relationships/audio" Target="NULL" TargetMode="External"/><Relationship Id="rId1" Type="http://schemas.openxmlformats.org/officeDocument/2006/relationships/tags" Target="../tags/tag8.xml"/><Relationship Id="rId6" Type="http://schemas.openxmlformats.org/officeDocument/2006/relationships/image" Target="../media/image40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2" TargetMode="Externa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gif"/><Relationship Id="rId3" Type="http://schemas.openxmlformats.org/officeDocument/2006/relationships/audio" Target="NULL" TargetMode="External"/><Relationship Id="rId7" Type="http://schemas.openxmlformats.org/officeDocument/2006/relationships/slideLayout" Target="../slideLayouts/slideLayout1.xml"/><Relationship Id="rId2" Type="http://schemas.openxmlformats.org/officeDocument/2006/relationships/video" Target="../media/media24.mp4"/><Relationship Id="rId1" Type="http://schemas.microsoft.com/office/2007/relationships/media" Target="../media/media24.mp4"/><Relationship Id="rId6" Type="http://schemas.openxmlformats.org/officeDocument/2006/relationships/audio" Target="../media/media26.mp3"/><Relationship Id="rId5" Type="http://schemas.microsoft.com/office/2007/relationships/media" Target="../media/media26.mp3"/><Relationship Id="rId10" Type="http://schemas.openxmlformats.org/officeDocument/2006/relationships/image" Target="../media/image3.png"/><Relationship Id="rId4" Type="http://schemas.microsoft.com/office/2007/relationships/media" Target="../media/media25.m4a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3.mp4"/><Relationship Id="rId7" Type="http://schemas.openxmlformats.org/officeDocument/2006/relationships/image" Target="../media/image5.png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media" Target="../media/media5.mp3"/><Relationship Id="rId7" Type="http://schemas.openxmlformats.org/officeDocument/2006/relationships/slideLayout" Target="../slideLayouts/slideLayout1.xml"/><Relationship Id="rId2" Type="http://schemas.microsoft.com/office/2007/relationships/media" Target="../media/media4.mp4"/><Relationship Id="rId1" Type="http://schemas.openxmlformats.org/officeDocument/2006/relationships/video" Target="NULL" TargetMode="External"/><Relationship Id="rId6" Type="http://schemas.openxmlformats.org/officeDocument/2006/relationships/audio" Target="../media/media6.mp3"/><Relationship Id="rId11" Type="http://schemas.openxmlformats.org/officeDocument/2006/relationships/image" Target="../media/image3.png"/><Relationship Id="rId5" Type="http://schemas.microsoft.com/office/2007/relationships/media" Target="../media/media6.mp3"/><Relationship Id="rId10" Type="http://schemas.openxmlformats.org/officeDocument/2006/relationships/image" Target="../media/image9.jpeg"/><Relationship Id="rId4" Type="http://schemas.openxmlformats.org/officeDocument/2006/relationships/audio" Target="../media/media5.mp3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../media/media12.mp4"/><Relationship Id="rId13" Type="http://schemas.openxmlformats.org/officeDocument/2006/relationships/image" Target="../media/image13.png"/><Relationship Id="rId3" Type="http://schemas.microsoft.com/office/2007/relationships/media" Target="../media/media8.m4a"/><Relationship Id="rId7" Type="http://schemas.microsoft.com/office/2007/relationships/media" Target="../media/media12.mp4"/><Relationship Id="rId12" Type="http://schemas.openxmlformats.org/officeDocument/2006/relationships/image" Target="../media/image12.png"/><Relationship Id="rId2" Type="http://schemas.microsoft.com/office/2007/relationships/media" Target="../media/media7.m4a"/><Relationship Id="rId16" Type="http://schemas.openxmlformats.org/officeDocument/2006/relationships/image" Target="../media/image15.png"/><Relationship Id="rId1" Type="http://schemas.openxmlformats.org/officeDocument/2006/relationships/audio" Target="NULL" TargetMode="External"/><Relationship Id="rId6" Type="http://schemas.microsoft.com/office/2007/relationships/media" Target="../media/media11.m4a"/><Relationship Id="rId11" Type="http://schemas.openxmlformats.org/officeDocument/2006/relationships/image" Target="../media/image11.png"/><Relationship Id="rId5" Type="http://schemas.microsoft.com/office/2007/relationships/media" Target="../media/media10.m4a"/><Relationship Id="rId15" Type="http://schemas.openxmlformats.org/officeDocument/2006/relationships/image" Target="../media/image3.png"/><Relationship Id="rId10" Type="http://schemas.openxmlformats.org/officeDocument/2006/relationships/image" Target="../media/image10.png"/><Relationship Id="rId4" Type="http://schemas.microsoft.com/office/2007/relationships/media" Target="../media/media9.m4a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3.m4a"/><Relationship Id="rId7" Type="http://schemas.openxmlformats.org/officeDocument/2006/relationships/image" Target="../media/image17.emf"/><Relationship Id="rId2" Type="http://schemas.openxmlformats.org/officeDocument/2006/relationships/audio" Target="NULL" TargetMode="External"/><Relationship Id="rId1" Type="http://schemas.openxmlformats.org/officeDocument/2006/relationships/tags" Target="../tags/tag1.xml"/><Relationship Id="rId6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490;&#1488;&#1504;&#1496;.xlsx!&#1504;&#1497;&#1492;&#1493;&#1500;%20&#1502;&#1495;&#1505;&#1503;%20&#1490;&#1488;&#1504;&#1496;!R1C2:R17C46" TargetMode="External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4.m4a"/><Relationship Id="rId7" Type="http://schemas.openxmlformats.org/officeDocument/2006/relationships/image" Target="../media/image19.jpeg"/><Relationship Id="rId2" Type="http://schemas.openxmlformats.org/officeDocument/2006/relationships/audio" Target="NULL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18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1" TargetMode="Externa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5" TargetMode="External"/><Relationship Id="rId12" Type="http://schemas.openxmlformats.org/officeDocument/2006/relationships/image" Target="../media/image22.emf"/><Relationship Id="rId2" Type="http://schemas.microsoft.com/office/2007/relationships/media" Target="../media/media15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7" TargetMode="External"/><Relationship Id="rId5" Type="http://schemas.openxmlformats.org/officeDocument/2006/relationships/tags" Target="../tags/tag5.xml"/><Relationship Id="rId10" Type="http://schemas.openxmlformats.org/officeDocument/2006/relationships/image" Target="../media/image21.emf"/><Relationship Id="rId4" Type="http://schemas.openxmlformats.org/officeDocument/2006/relationships/tags" Target="../tags/tag4.xml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6" TargetMode="External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07/relationships/hdphoto" Target="../media/hdphoto1.wdp"/><Relationship Id="rId3" Type="http://schemas.microsoft.com/office/2007/relationships/media" Target="../media/media17.m4a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microsoft.com/office/2007/relationships/media" Target="../media/media16.m4a"/><Relationship Id="rId16" Type="http://schemas.openxmlformats.org/officeDocument/2006/relationships/image" Target="../media/image31.png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8.png"/><Relationship Id="rId5" Type="http://schemas.openxmlformats.org/officeDocument/2006/relationships/video" Target="../media/media18.mp4"/><Relationship Id="rId15" Type="http://schemas.openxmlformats.org/officeDocument/2006/relationships/image" Target="../media/image3.png"/><Relationship Id="rId10" Type="http://schemas.openxmlformats.org/officeDocument/2006/relationships/image" Target="../media/image27.png"/><Relationship Id="rId4" Type="http://schemas.microsoft.com/office/2007/relationships/media" Target="../media/media18.mp4"/><Relationship Id="rId9" Type="http://schemas.openxmlformats.org/officeDocument/2006/relationships/image" Target="../media/image26.png"/><Relationship Id="rId1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media" Target="../media/media20.m4a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microsoft.com/office/2007/relationships/media" Target="../media/media19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png"/><Relationship Id="rId5" Type="http://schemas.openxmlformats.org/officeDocument/2006/relationships/video" Target="../media/media21.mp4"/><Relationship Id="rId10" Type="http://schemas.openxmlformats.org/officeDocument/2006/relationships/image" Target="../media/image35.jpeg"/><Relationship Id="rId4" Type="http://schemas.microsoft.com/office/2007/relationships/media" Target="../media/media21.mp4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100000">
              <a:srgbClr val="FEF4D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AAAE94E3-A7DB-4868-B1E3-E49703488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תיבת טקסט 5">
            <a:extLst>
              <a:ext uri="{FF2B5EF4-FFF2-40B4-BE49-F238E27FC236}">
                <a16:creationId xmlns:a16="http://schemas.microsoft.com/office/drawing/2014/main" id="{FF888302-1D5D-D44C-80C7-6C6D60DEBBB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9377" y="856180"/>
            <a:ext cx="5279408" cy="1128068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he-IL" sz="4000" b="1" spc="600" dirty="0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rPr>
              <a:t>פרויקט ניהול מחסן </a:t>
            </a:r>
          </a:p>
        </p:txBody>
      </p:sp>
      <p:grpSp>
        <p:nvGrpSpPr>
          <p:cNvPr id="4105" name="Group 4104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4106" name="Rectangle 4105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7" name="Rectangle 4106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123821"/>
            <a:ext cx="4975066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תיבת טקסט 10">
            <a:extLst>
              <a:ext uri="{FF2B5EF4-FFF2-40B4-BE49-F238E27FC236}">
                <a16:creationId xmlns:a16="http://schemas.microsoft.com/office/drawing/2014/main" id="{72214E2F-3F60-0548-BAF5-15789501043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210962" y="3281034"/>
            <a:ext cx="4657823" cy="2400437"/>
          </a:xfrm>
          <a:prstGeom prst="rect">
            <a:avLst/>
          </a:prstGeom>
        </p:spPr>
        <p:txBody>
          <a:bodyPr rtlCol="1" anchor="ctr">
            <a:normAutofit fontScale="92500"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spc="300" dirty="0">
                <a:solidFill>
                  <a:srgbClr val="996C3F"/>
                </a:solidFill>
              </a:rPr>
              <a:t>מנהל פרויקט – </a:t>
            </a:r>
            <a:r>
              <a:rPr lang="he-IL" sz="2800" dirty="0">
                <a:solidFill>
                  <a:srgbClr val="996C3F"/>
                </a:solidFill>
              </a:rPr>
              <a:t>אוסאמה </a:t>
            </a:r>
            <a:r>
              <a:rPr lang="he-IL" sz="2800" dirty="0" err="1">
                <a:solidFill>
                  <a:srgbClr val="996C3F"/>
                </a:solidFill>
              </a:rPr>
              <a:t>סלייח</a:t>
            </a:r>
            <a:r>
              <a:rPr lang="he-IL" sz="2800" dirty="0">
                <a:solidFill>
                  <a:srgbClr val="996C3F"/>
                </a:solidFill>
              </a:rPr>
              <a:t> </a:t>
            </a:r>
          </a:p>
          <a:p>
            <a:r>
              <a:rPr lang="he-IL" sz="2800" spc="300" dirty="0">
                <a:solidFill>
                  <a:srgbClr val="996C3F"/>
                </a:solidFill>
              </a:rPr>
              <a:t>צוות בדיקה </a:t>
            </a:r>
            <a:r>
              <a:rPr lang="he-IL" sz="2800" dirty="0">
                <a:solidFill>
                  <a:srgbClr val="996C3F"/>
                </a:solidFill>
              </a:rPr>
              <a:t>-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מעיין אהרון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שגית נחמיאס </a:t>
            </a:r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13" name="Rectangle: Rounded Corners 411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7447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8+ Thousand Software Testing Banner Royalty-Free Images, Stock Photos &amp;  Pictures | Shutterstock">
            <a:extLst>
              <a:ext uri="{FF2B5EF4-FFF2-40B4-BE49-F238E27FC236}">
                <a16:creationId xmlns:a16="http://schemas.microsoft.com/office/drawing/2014/main" id="{BE42DE48-65B1-D252-E9DB-373186A09CA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3" r="6904" b="-1"/>
          <a:stretch/>
        </p:blipFill>
        <p:spPr bwMode="auto">
          <a:xfrm>
            <a:off x="7083423" y="1019200"/>
            <a:ext cx="4397433" cy="1644139"/>
          </a:xfrm>
          <a:prstGeom prst="rect">
            <a:avLst/>
          </a:pr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115" name="Rectangle: Rounded Corners 4114">
            <a:extLst>
              <a:ext uri="{FF2B5EF4-FFF2-40B4-BE49-F238E27FC236}">
                <a16:creationId xmlns:a16="http://schemas.microsoft.com/office/drawing/2014/main" id="{8CB5D2D7-DF65-4E86-BFBA-FFB9B5ACE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05479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Warehouse PowerPoint Templates - Warehouse PowerPoint Backgrounds, Templates  for PowerPoint, Presentation Templates, PowerPoint Themes">
            <a:extLst>
              <a:ext uri="{FF2B5EF4-FFF2-40B4-BE49-F238E27FC236}">
                <a16:creationId xmlns:a16="http://schemas.microsoft.com/office/drawing/2014/main" id="{CC33EF91-6D17-0647-D843-99DCB1615EB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39"/>
          <a:stretch/>
        </p:blipFill>
        <p:spPr bwMode="auto">
          <a:xfrm>
            <a:off x="7275676" y="3749459"/>
            <a:ext cx="3997519" cy="24601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1">
            <a:hlinkClick r:id="" action="ppaction://media"/>
            <a:extLst>
              <a:ext uri="{FF2B5EF4-FFF2-40B4-BE49-F238E27FC236}">
                <a16:creationId xmlns:a16="http://schemas.microsoft.com/office/drawing/2014/main" id="{1453F901-62B5-175F-8A0D-678F27FD18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58775" y="72929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75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80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6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Warehouse Performance Powerpoint Ppt Template Bundles PPT PowerPoint">
            <a:extLst>
              <a:ext uri="{FF2B5EF4-FFF2-40B4-BE49-F238E27FC236}">
                <a16:creationId xmlns:a16="http://schemas.microsoft.com/office/drawing/2014/main" id="{52ADEC73-4E8C-CEE7-D17E-4E810D6F8C8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" t="17455" r="42565" b="8122"/>
          <a:stretch/>
        </p:blipFill>
        <p:spPr bwMode="auto">
          <a:xfrm>
            <a:off x="838200" y="937746"/>
            <a:ext cx="3828169" cy="2936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752284" y="-202959"/>
            <a:ext cx="7031182" cy="150588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8012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5400" b="1" spc="800">
                <a:ln w="12700">
                  <a:solidFill>
                    <a:srgbClr val="444346"/>
                  </a:solidFill>
                </a:ln>
                <a:solidFill>
                  <a:srgbClr val="017D76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A58728"/>
                </a:solidFill>
              </a:rPr>
              <a:t>ממשקים פנימיים וחיצוניים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F119380-70B2-925F-CD7C-72906526C8E5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62301"/>
              </p:ext>
            </p:extLst>
          </p:nvPr>
        </p:nvGraphicFramePr>
        <p:xfrm>
          <a:off x="5349875" y="1588294"/>
          <a:ext cx="6164263" cy="268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6164722" imgH="2685698" progId="Word.Document.12">
                  <p:link updateAutomatic="1"/>
                </p:oleObj>
              </mc:Choice>
              <mc:Fallback>
                <p:oleObj name="Document" r:id="rId7" imgW="6164722" imgH="2685698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349875" y="1588294"/>
                        <a:ext cx="6164263" cy="268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0886D823-507A-F2DC-D138-EDB174CC9064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470233"/>
              </p:ext>
            </p:extLst>
          </p:nvPr>
        </p:nvGraphicFramePr>
        <p:xfrm>
          <a:off x="838200" y="4141450"/>
          <a:ext cx="6164263" cy="253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9" imgW="6164722" imgH="2537514" progId="Word.Document.12">
                  <p:link updateAutomatic="1"/>
                </p:oleObj>
              </mc:Choice>
              <mc:Fallback>
                <p:oleObj name="Document" r:id="rId9" imgW="6164722" imgH="2537514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38200" y="4141450"/>
                        <a:ext cx="6164263" cy="253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8694D7D9-66B0-40DB-4FFF-E6148A35CA3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288" end="900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701675" y="78898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1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6836 -0.21412 L -1.25E-6 1.82146E-1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24" y="10972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242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1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100"/>
                            </p:stCondLst>
                            <p:childTnLst>
                              <p:par>
                                <p:cTn id="3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3828 -0.42755 L 3.54167E-6 3.7037E-6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14" y="2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1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100"/>
                            </p:stCondLst>
                            <p:childTnLst>
                              <p:par>
                                <p:cTn id="3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1.11111E-6 L 0.00274 0.49282 " pathEditMode="relative" rAng="0" ptsTypes="AA">
                                      <p:cBhvr>
                                        <p:cTn id="38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2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140714" y="5667101"/>
            <a:ext cx="4173600" cy="1098692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he-IL" dirty="0">
                <a:solidFill>
                  <a:srgbClr val="C48309"/>
                </a:solidFill>
              </a:rPr>
              <a:t>ניהול סיכונים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479D2BB-3BA0-CAA4-830A-EAB2F0746DC1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825468"/>
              </p:ext>
            </p:extLst>
          </p:nvPr>
        </p:nvGraphicFramePr>
        <p:xfrm>
          <a:off x="1680844" y="4688"/>
          <a:ext cx="8830311" cy="4699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664049" imgH="5660193" progId="Word.Document.12">
                  <p:link updateAutomatic="1"/>
                </p:oleObj>
              </mc:Choice>
              <mc:Fallback>
                <p:oleObj name="Document" r:id="rId5" imgW="6664049" imgH="5660193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844" y="4688"/>
                        <a:ext cx="8830311" cy="4699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Free Warehouse PowerPoint Templates And Google Slides">
            <a:extLst>
              <a:ext uri="{FF2B5EF4-FFF2-40B4-BE49-F238E27FC236}">
                <a16:creationId xmlns:a16="http://schemas.microsoft.com/office/drawing/2014/main" id="{9D939EE1-3E39-5DC1-DAEA-C9445E2D5E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t="28100" r="36532" b="14450"/>
          <a:stretch/>
        </p:blipFill>
        <p:spPr bwMode="auto">
          <a:xfrm>
            <a:off x="2433484" y="5105210"/>
            <a:ext cx="4218039" cy="168521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9882E6A4-470C-B462-332F-4DC5DA54D33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041" end="671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6875" y="74580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3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4" presetClass="emph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8" dur="50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0" dur="250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1" dur="25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2" dur="250" fill="hold">
                                          <p:stCondLst>
                                            <p:cond delay="7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3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1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9" presetID="4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-0.00069 L 0.01614 -0.00069 C 0.02408 -0.00069 0.0332 -0.01389 0.0414 -0.01713 C 0.047 -0.01713 0.0582 -0.00324 0.06354 -0.00324 C 0.07057 -0.00324 0.07682 -0.00718 0.09049 -0.00718 C 0.0931 -0.0588 0.09622 -0.11134 0.09895 -0.16273 C 0.10247 -0.09977 0.10586 -0.03773 0.10924 0.025 C 0.04622 0.00023 -0.46927 0.09398 -0.55013 0.02431 " pathEditMode="relative" rAng="0" ptsTypes="AAAAAAAA">
                                      <p:cBhvr>
                                        <p:cTn id="20" dur="2000" spd="-100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53" y="-5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100"/>
                            </p:stCondLst>
                            <p:childTnLst>
                              <p:par>
                                <p:cTn id="22" presetID="16" presetClass="entr" presetSubtype="2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73A25D70-4A55-4F72-B9C5-A69CDBF4D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957100-6D8B-4161-9F2F-C0A949EC8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BCB02B1-1B82-403C-B7D2-E2CED1882F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DE13A7-6382-4A67-BEBE-4FF1F37C7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9978FC9-2E40-4257-8D97-FAB20CA4BF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0ABB98-77BA-4C40-8121-34D196E58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1AA752E-66C1-4835-8A3C-556475159D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E9555AB-2295-4939-AEC9-B2CBFCB4CC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499201-5A2C-48B3-9B02-5519B88294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FC2AE7-C60C-4C48-BCAE-410BB6C3D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A1593-6BC9-441E-8F3C-46DD50F810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pic>
        <p:nvPicPr>
          <p:cNvPr id="7" name="Picture 6" descr="Cartoon of hands clapping&#10;&#10;AI-generated content may be incorrect.">
            <a:extLst>
              <a:ext uri="{FF2B5EF4-FFF2-40B4-BE49-F238E27FC236}">
                <a16:creationId xmlns:a16="http://schemas.microsoft.com/office/drawing/2014/main" id="{118F7C4E-44F2-C230-30B0-34B08099641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rcRect l="-13474" t="-7007" r="-30572" b="-10253"/>
          <a:stretch/>
        </p:blipFill>
        <p:spPr>
          <a:xfrm>
            <a:off x="4021073" y="312128"/>
            <a:ext cx="2950541" cy="240184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video-name">
            <a:hlinkClick r:id="" action="ppaction://media"/>
            <a:extLst>
              <a:ext uri="{FF2B5EF4-FFF2-40B4-BE49-F238E27FC236}">
                <a16:creationId xmlns:a16="http://schemas.microsoft.com/office/drawing/2014/main" id="{5CA64B8C-C3E3-886E-B2E0-0AFBDD13A9B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rcRect l="28508" t="10911" r="31724" b="-1"/>
          <a:stretch/>
        </p:blipFill>
        <p:spPr>
          <a:xfrm>
            <a:off x="6860320" y="1099098"/>
            <a:ext cx="4457964" cy="56175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17147D5D-F01F-4164-BD81-D10DC6F23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142" y="2854"/>
            <a:ext cx="2783421" cy="2406445"/>
            <a:chOff x="-305" y="-4155"/>
            <a:chExt cx="2514948" cy="21743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24C7412-3E2D-4708-8DC3-425A457A10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1483A6A-CB0B-4469-B09D-C9451F9B07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A935E9D-EB55-46F3-BCCB-9CB918E870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EDC5655-C7D7-4936-91EA-E188A96DC6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D0E248E-80AB-4B35-BA8D-F940FCB44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417253" y="4456669"/>
            <a:ext cx="2783421" cy="2406445"/>
            <a:chOff x="-305" y="-4155"/>
            <a:chExt cx="2514948" cy="2174333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9E91B0A-66E8-4298-BAC6-004DBE4919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A629C66-36BD-487E-B1CD-ED026D7789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BC2D2C-3D7D-4224-81BC-22C094C9FB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3BDF903-22C5-4312-8776-C2ABC3EDC0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846C4B2-39B6-F8F8-A499-1EFC04DE3C5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584" end="1232.6458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748" y="7207799"/>
            <a:ext cx="531813" cy="531812"/>
          </a:xfrm>
          <a:prstGeom prst="rect">
            <a:avLst/>
          </a:prstGeom>
        </p:spPr>
      </p:pic>
      <p:pic>
        <p:nvPicPr>
          <p:cNvPr id="4" name="Applause  Sound Effect">
            <a:hlinkClick r:id="" action="ppaction://media"/>
            <a:extLst>
              <a:ext uri="{FF2B5EF4-FFF2-40B4-BE49-F238E27FC236}">
                <a16:creationId xmlns:a16="http://schemas.microsoft.com/office/drawing/2014/main" id="{F7878037-B753-1CA6-0356-C0346766540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79854" y="7207798"/>
            <a:ext cx="531813" cy="531813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813791" y="2419788"/>
            <a:ext cx="4518875" cy="2561334"/>
          </a:xfrm>
          <a:prstGeom prst="rect">
            <a:avLst/>
          </a:prstGeom>
        </p:spPr>
        <p:txBody>
          <a:bodyPr rtlCol="1" anchor="ctr">
            <a:prstTxWarp prst="textCascade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C48309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dirty="0">
                <a:solidFill>
                  <a:srgbClr val="C00000"/>
                </a:solidFill>
              </a:rPr>
              <a:t>תודה על ההקשבה</a:t>
            </a:r>
          </a:p>
          <a:p>
            <a:r>
              <a:rPr lang="he-IL" sz="2800" dirty="0">
                <a:solidFill>
                  <a:srgbClr val="C00000"/>
                </a:solidFill>
              </a:rPr>
              <a:t>הצוות</a:t>
            </a:r>
          </a:p>
        </p:txBody>
      </p:sp>
    </p:spTree>
    <p:extLst>
      <p:ext uri="{BB962C8B-B14F-4D97-AF65-F5344CB8AC3E}">
        <p14:creationId xmlns:p14="http://schemas.microsoft.com/office/powerpoint/2010/main" val="220834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4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4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63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9000">
              <a:srgbClr val="F7F6F6"/>
            </a:gs>
            <a:gs pos="75000">
              <a:srgbClr val="BAD5F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89536" y="152400"/>
            <a:ext cx="3416214" cy="1297115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600" dirty="0">
                <a:solidFill>
                  <a:srgbClr val="99693D"/>
                </a:solidFill>
              </a:rPr>
              <a:t>תוכן המצגת </a:t>
            </a:r>
          </a:p>
        </p:txBody>
      </p:sp>
      <p:sp>
        <p:nvSpPr>
          <p:cNvPr id="23" name="תיבת טקסט 22">
            <a:extLst>
              <a:ext uri="{FF2B5EF4-FFF2-40B4-BE49-F238E27FC236}">
                <a16:creationId xmlns:a16="http://schemas.microsoft.com/office/drawing/2014/main" id="{F8978374-365E-A04E-8086-E3A87D716EC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19639" y="2675125"/>
            <a:ext cx="399089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>
              <a:lnSpc>
                <a:spcPct val="150000"/>
              </a:lnSpc>
              <a:spcAft>
                <a:spcPts val="600"/>
              </a:spcAft>
              <a:defRPr sz="2800" b="1">
                <a:solidFill>
                  <a:srgbClr val="FF0000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לא 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ממשקים פנימיים וחיצוניים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ניהול סיכונים</a:t>
            </a:r>
            <a:endParaRPr lang="en-US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CF306717-6ACC-1944-A4F5-3E1D85E345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234422" y="949110"/>
            <a:ext cx="553103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יאור המערכת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לו"ז תכנון וביצוע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נאי סף לתחילת עבודה וסיום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דרישות לביצוע הבדיקות</a:t>
            </a:r>
            <a:r>
              <a:rPr lang="en-US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endParaRPr lang="he-IL" sz="2800" b="1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pic>
        <p:nvPicPr>
          <p:cNvPr id="3074" name="Picture 2" descr="Warehouse Management PPT Template and Google Slides">
            <a:extLst>
              <a:ext uri="{FF2B5EF4-FFF2-40B4-BE49-F238E27FC236}">
                <a16:creationId xmlns:a16="http://schemas.microsoft.com/office/drawing/2014/main" id="{0E3A92F7-C64D-5D3B-39F6-148F600E359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3555" r="48830" b="4444"/>
          <a:stretch/>
        </p:blipFill>
        <p:spPr bwMode="auto">
          <a:xfrm>
            <a:off x="6672649" y="3953284"/>
            <a:ext cx="4922012" cy="27523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1">
            <a:hlinkClick r:id="" action="ppaction://media"/>
            <a:extLst>
              <a:ext uri="{FF2B5EF4-FFF2-40B4-BE49-F238E27FC236}">
                <a16:creationId xmlns:a16="http://schemas.microsoft.com/office/drawing/2014/main" id="{EE7AE264-333C-D775-9EA4-E6748FC0BDF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359025" y="7254875"/>
            <a:ext cx="609600" cy="609600"/>
          </a:xfrm>
          <a:prstGeom prst="rect">
            <a:avLst/>
          </a:prstGeom>
        </p:spPr>
      </p:pic>
      <p:pic>
        <p:nvPicPr>
          <p:cNvPr id="4" name="Luna">
            <a:hlinkClick r:id="" action="ppaction://media"/>
            <a:extLst>
              <a:ext uri="{FF2B5EF4-FFF2-40B4-BE49-F238E27FC236}">
                <a16:creationId xmlns:a16="http://schemas.microsoft.com/office/drawing/2014/main" id="{59029D36-9F7F-1E5C-3B6A-DD545283A10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rcRect t="25851" b="17616"/>
          <a:stretch/>
        </p:blipFill>
        <p:spPr>
          <a:xfrm>
            <a:off x="4622831" y="943132"/>
            <a:ext cx="3241454" cy="32577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360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232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328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28"/>
                            </p:stCondLst>
                            <p:childTnLst>
                              <p:par>
                                <p:cTn id="27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8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860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4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0" presetClass="path" presetSubtype="0" accel="50000" decel="50000" fill="hold" nodeType="withEffect">
                                  <p:stCondLst>
                                    <p:cond delay="10200"/>
                                  </p:stCondLst>
                                  <p:childTnLst>
                                    <p:animMotion origin="layout" path="M -0.38151 -0.08241 L -0.2569 -0.08241 C -0.20078 -0.08241 -0.03971 -0.09884 -0.03971 -0.04282 C -0.03971 -0.00046 6.25E-7 -0.02986 6.25E-7 0.01273 " pathEditMode="relative" rAng="0" ptsTypes="AAAA">
                                      <p:cBhvr>
                                        <p:cTn id="47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076" y="463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2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4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6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video>
              <p:cMediaNode vol="80000">
                <p:cTn id="5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  <p:bldLst>
      <p:bldP spid="12" grpId="0"/>
      <p:bldP spid="23" grpId="0" uiExpand="1" build="p"/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rgbClr val="F7F6F6"/>
            </a:gs>
            <a:gs pos="52000">
              <a:srgbClr val="F0D9CC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D1942232-83D0-49E2-AF9B-1F97E3C1E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video-name">
            <a:hlinkClick r:id="" action="ppaction://media"/>
            <a:extLst>
              <a:ext uri="{FF2B5EF4-FFF2-40B4-BE49-F238E27FC236}">
                <a16:creationId xmlns:a16="http://schemas.microsoft.com/office/drawing/2014/main" id="{B4A387E7-6388-5429-22DD-9F31853DC2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623"/>
                </p14:media>
              </p:ext>
            </p:extLst>
          </p:nvPr>
        </p:nvPicPr>
        <p:blipFill>
          <a:blip r:embed="rId8"/>
          <a:srcRect l="29567" t="13002" r="32713" b="-315"/>
          <a:stretch/>
        </p:blipFill>
        <p:spPr>
          <a:xfrm>
            <a:off x="2721946" y="1550456"/>
            <a:ext cx="3410488" cy="44406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9E70D72-6E23-4015-A4A6-85C120C19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746057" y="207123"/>
            <a:ext cx="4699580" cy="783771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chemeClr val="accent6">
                    <a:lumMod val="50000"/>
                  </a:schemeClr>
                </a:solidFill>
              </a:rPr>
              <a:t>תיאור המערכת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8A977F-B603-4D81-B0FC-C8DE048A7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1"/>
            <a:ext cx="3362070" cy="2522848"/>
            <a:chOff x="-305" y="-1"/>
            <a:chExt cx="3832880" cy="287613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183CE8C-E039-4B2F-A36E-5FD5CD5DE1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EB77281-FAB4-40D0-B3F3-264EC4AB20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15E59F3-75FC-494F-8737-5F00A4964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3ADDCFA-B066-4D79-AB71-062E66E58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תמונה 31">
            <a:extLst>
              <a:ext uri="{FF2B5EF4-FFF2-40B4-BE49-F238E27FC236}">
                <a16:creationId xmlns:a16="http://schemas.microsoft.com/office/drawing/2014/main" id="{402FEAE7-E8D1-3A41-BF67-A62A731E86A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665" y="133024"/>
            <a:ext cx="1346204" cy="1346203"/>
          </a:xfrm>
          <a:prstGeom prst="rect">
            <a:avLst/>
          </a:prstGeom>
        </p:spPr>
      </p:pic>
      <p:sp>
        <p:nvSpPr>
          <p:cNvPr id="4" name="תיבת טקסט 3">
            <a:extLst>
              <a:ext uri="{FF2B5EF4-FFF2-40B4-BE49-F238E27FC236}">
                <a16:creationId xmlns:a16="http://schemas.microsoft.com/office/drawing/2014/main" id="{F3C80984-A6FE-6D41-A7E7-64170BFB9C6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2434" y="1163849"/>
            <a:ext cx="5165811" cy="5213890"/>
          </a:xfrm>
          <a:prstGeom prst="rect">
            <a:avLst/>
          </a:prstGeom>
        </p:spPr>
        <p:txBody>
          <a:bodyPr rtlCol="1" anchor="ctr">
            <a:normAutofit lnSpcReduction="10000"/>
          </a:bodyPr>
          <a:lstStyle/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 זו מיועדת לניהול מחסן ומכירות של חברה המספקת ציוד שיפוצים ובנייה.</a:t>
            </a:r>
            <a:endParaRPr lang="en-US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endParaRPr lang="he-IL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באה להחליף מערכת קיימת שכבר איננה מתאימה לצורכי החברה.</a:t>
            </a:r>
          </a:p>
          <a:p>
            <a:pPr algn="just">
              <a:spcAft>
                <a:spcPts val="300"/>
              </a:spcAft>
            </a:pPr>
            <a:b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</a:b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נתמכת גם באתר אינטרנט ייעודי שאליו ניתן להתחבר מחוץ לחברה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78D9229-E61D-4FEE-8321-2F8B64A8C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10186037" y="4852038"/>
            <a:ext cx="2151670" cy="1860256"/>
            <a:chOff x="-305" y="-4155"/>
            <a:chExt cx="2514948" cy="2174333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DD3CCB-26A3-4D79-AEB6-7A60CF980D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AC4470-5113-4709-B29F-CDB937F254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E0D146C-9DAB-421E-AE88-5F854BF3F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EB32A5-4408-4F6C-84B2-F9A908237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050" name="Picture 2" descr="Top 10 Meeting Logistics PowerPoint Presentation Templates in 2025">
            <a:extLst>
              <a:ext uri="{FF2B5EF4-FFF2-40B4-BE49-F238E27FC236}">
                <a16:creationId xmlns:a16="http://schemas.microsoft.com/office/drawing/2014/main" id="{A2242E27-2322-F7F8-4052-6AE1039AD2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8" t="5758" r="8634" b="5758"/>
          <a:stretch/>
        </p:blipFill>
        <p:spPr bwMode="auto">
          <a:xfrm>
            <a:off x="12312" y="2588755"/>
            <a:ext cx="2730888" cy="42790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1">
            <a:hlinkClick r:id="" action="ppaction://media"/>
            <a:extLst>
              <a:ext uri="{FF2B5EF4-FFF2-40B4-BE49-F238E27FC236}">
                <a16:creationId xmlns:a16="http://schemas.microsoft.com/office/drawing/2014/main" id="{B79E7699-3207-1472-406E-818B987201D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482725" y="7312025"/>
            <a:ext cx="609600" cy="609600"/>
          </a:xfrm>
          <a:prstGeom prst="rect">
            <a:avLst/>
          </a:prstGeom>
        </p:spPr>
      </p:pic>
      <p:pic>
        <p:nvPicPr>
          <p:cNvPr id="6" name="1">
            <a:hlinkClick r:id="" action="ppaction://media"/>
            <a:extLst>
              <a:ext uri="{FF2B5EF4-FFF2-40B4-BE49-F238E27FC236}">
                <a16:creationId xmlns:a16="http://schemas.microsoft.com/office/drawing/2014/main" id="{31B7D4DC-97B4-A216-0212-9840B6EADD0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15925" y="74072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4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168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2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rgbClr val="F7F6F6"/>
            </a:gs>
            <a:gs pos="100000">
              <a:srgbClr val="D7D7D0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arehouse shelves filled with boxes, and four numbered red circles with captions on the right white area.">
            <a:extLst>
              <a:ext uri="{FF2B5EF4-FFF2-40B4-BE49-F238E27FC236}">
                <a16:creationId xmlns:a16="http://schemas.microsoft.com/office/drawing/2014/main" id="{A4065E65-891F-7E85-74D0-955C575EA8B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0">
            <a:clrChange>
              <a:clrFrom>
                <a:srgbClr val="BBC3C5"/>
              </a:clrFrom>
              <a:clrTo>
                <a:srgbClr val="BBC3C5">
                  <a:alpha val="0"/>
                </a:srgbClr>
              </a:clrTo>
            </a:clrChange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00"/>
          <a:stretch/>
        </p:blipFill>
        <p:spPr bwMode="auto">
          <a:xfrm>
            <a:off x="248753" y="292099"/>
            <a:ext cx="5251631" cy="63527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 fov="1200000">
              <a:rot lat="20864504" lon="328927" rev="21333205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81601" y="101325"/>
            <a:ext cx="7375938" cy="987017"/>
          </a:xfrm>
          <a:prstGeom prst="rect">
            <a:avLst/>
          </a:prstGeom>
        </p:spPr>
        <p:txBody>
          <a:bodyPr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31750">
                  <a:solidFill>
                    <a:srgbClr val="002060"/>
                  </a:solidFill>
                </a:ln>
                <a:solidFill>
                  <a:schemeClr val="tx2"/>
                </a:solidFill>
              </a:defRPr>
            </a:lvl1pPr>
          </a:lstStyle>
          <a:p>
            <a:r>
              <a:rPr lang="he-IL" dirty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שתמשי מערכת </a:t>
            </a:r>
          </a:p>
        </p:txBody>
      </p:sp>
      <p:pic>
        <p:nvPicPr>
          <p:cNvPr id="13" name="תמונה 12">
            <a:extLst>
              <a:ext uri="{FF2B5EF4-FFF2-40B4-BE49-F238E27FC236}">
                <a16:creationId xmlns:a16="http://schemas.microsoft.com/office/drawing/2014/main" id="{9047320F-E11A-E74E-AFD0-A599CC0874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10622" y="4289321"/>
            <a:ext cx="1760740" cy="1554242"/>
          </a:xfrm>
          <a:prstGeom prst="rect">
            <a:avLst/>
          </a:prstGeom>
        </p:spPr>
      </p:pic>
      <p:pic>
        <p:nvPicPr>
          <p:cNvPr id="24" name="תמונה 23">
            <a:extLst>
              <a:ext uri="{FF2B5EF4-FFF2-40B4-BE49-F238E27FC236}">
                <a16:creationId xmlns:a16="http://schemas.microsoft.com/office/drawing/2014/main" id="{F967DA53-9B93-8B42-B0AB-1CA09D2E0E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3111" y="1473301"/>
            <a:ext cx="1501750" cy="1709061"/>
          </a:xfrm>
          <a:prstGeom prst="rect">
            <a:avLst/>
          </a:prstGeom>
        </p:spPr>
      </p:pic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D0D574C9-2E97-E949-886A-021FA838035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3090876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דמיניסטרטור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5" name="תיבת טקסט 14">
            <a:extLst>
              <a:ext uri="{FF2B5EF4-FFF2-40B4-BE49-F238E27FC236}">
                <a16:creationId xmlns:a16="http://schemas.microsoft.com/office/drawing/2014/main" id="{74252DE8-C744-7C49-BFD8-C01B9C866D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559351" y="5873734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כירות 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8870506B-8F01-B747-AF68-40587AB6F81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69099" y="4442764"/>
            <a:ext cx="2066124" cy="1281933"/>
          </a:xfrm>
          <a:prstGeom prst="rect">
            <a:avLst/>
          </a:prstGeom>
        </p:spPr>
      </p:pic>
      <p:pic>
        <p:nvPicPr>
          <p:cNvPr id="16" name="תמונה 15">
            <a:extLst>
              <a:ext uri="{FF2B5EF4-FFF2-40B4-BE49-F238E27FC236}">
                <a16:creationId xmlns:a16="http://schemas.microsoft.com/office/drawing/2014/main" id="{1F9494AC-B410-704D-8FF0-B72A9CB23BB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11079" y="1595120"/>
            <a:ext cx="1582163" cy="1582162"/>
          </a:xfrm>
          <a:prstGeom prst="rect">
            <a:avLst/>
          </a:prstGeom>
        </p:spPr>
      </p:pic>
      <p:sp>
        <p:nvSpPr>
          <p:cNvPr id="17" name="תיבת טקסט 16">
            <a:extLst>
              <a:ext uri="{FF2B5EF4-FFF2-40B4-BE49-F238E27FC236}">
                <a16:creationId xmlns:a16="http://schemas.microsoft.com/office/drawing/2014/main" id="{7555AE68-83DB-D243-90D6-9E85A775F35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3133392"/>
            <a:ext cx="2385294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נשי המשרד 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8" name="תיבת טקסט 17">
            <a:extLst>
              <a:ext uri="{FF2B5EF4-FFF2-40B4-BE49-F238E27FC236}">
                <a16:creationId xmlns:a16="http://schemas.microsoft.com/office/drawing/2014/main" id="{8C4F3314-FF41-A346-9142-7A526B54673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6000" y="5856778"/>
            <a:ext cx="2385294" cy="476446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שלוחים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2DF3656-E12D-1E2F-94CF-C020F86A038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570" end="1595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524" y="7092330"/>
            <a:ext cx="531813" cy="531813"/>
          </a:xfrm>
          <a:prstGeom prst="rect">
            <a:avLst/>
          </a:prstGeom>
        </p:spPr>
      </p:pic>
      <p:pic>
        <p:nvPicPr>
          <p:cNvPr id="4" name="Recording">
            <a:hlinkClick r:id="" action="ppaction://media"/>
            <a:extLst>
              <a:ext uri="{FF2B5EF4-FFF2-40B4-BE49-F238E27FC236}">
                <a16:creationId xmlns:a16="http://schemas.microsoft.com/office/drawing/2014/main" id="{3A63582B-DB12-81B2-6B66-D2D70BDE11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460" end="410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304351" y="7074692"/>
            <a:ext cx="531813" cy="531813"/>
          </a:xfrm>
          <a:prstGeom prst="rect">
            <a:avLst/>
          </a:prstGeom>
        </p:spPr>
      </p:pic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72A7A3A1-20DC-3B6D-82FD-60148B32083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4">
                  <p14:trim st="1226" end="870.3125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956628" y="7074693"/>
            <a:ext cx="531812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E5DCC9A1-AEFA-2E1E-958D-F7575D5C3D4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5">
                  <p14:trim st="2260" end="519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3541568" y="7092330"/>
            <a:ext cx="531813" cy="531813"/>
          </a:xfrm>
          <a:prstGeom prst="rect">
            <a:avLst/>
          </a:prstGeom>
        </p:spPr>
      </p:pic>
      <p:pic>
        <p:nvPicPr>
          <p:cNvPr id="7" name="Recording">
            <a:hlinkClick r:id="" action="ppaction://media"/>
            <a:extLst>
              <a:ext uri="{FF2B5EF4-FFF2-40B4-BE49-F238E27FC236}">
                <a16:creationId xmlns:a16="http://schemas.microsoft.com/office/drawing/2014/main" id="{53EE4A1A-7D12-E014-D7B8-B07504EEE2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6">
                  <p14:trim st="2827" end="1095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558637" y="711797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B2603771-B947-BEA9-3A9C-9056621418A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6"/>
          <a:srcRect t="26078" b="17570"/>
          <a:stretch/>
        </p:blipFill>
        <p:spPr>
          <a:xfrm flipH="1">
            <a:off x="1562115" y="3219013"/>
            <a:ext cx="3331585" cy="3337638"/>
          </a:xfrm>
          <a:prstGeom prst="roundRect">
            <a:avLst>
              <a:gd name="adj" fmla="val 5783"/>
            </a:avLst>
          </a:prstGeom>
          <a:ln>
            <a:noFill/>
          </a:ln>
          <a:effectLst/>
          <a:scene3d>
            <a:camera prst="perspectiveRelaxed" fov="3600000">
              <a:rot lat="21000000" lon="1140000" rev="21240000"/>
            </a:camera>
            <a:lightRig rig="twoPt" dir="t">
              <a:rot lat="0" lon="0" rev="10200000"/>
            </a:lightRig>
          </a:scene3d>
          <a:sp3d contourW="6350">
            <a:bevelT w="165100" h="317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758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81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11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36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41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27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277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38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90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158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142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83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9081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136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699"/>
                            </p:stCondLst>
                            <p:childTnLst>
                              <p:par>
                                <p:cTn id="50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5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3" dur="3300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5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5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audio>
              <p:cMediaNode vol="80000">
                <p:cTn id="5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video>
              <p:cMediaNode vol="80000" showWhenStopped="0">
                <p:cTn id="59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3" grpId="0"/>
      <p:bldP spid="15" grpId="0"/>
      <p:bldP spid="17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6000">
              <a:srgbClr val="F7F6F6"/>
            </a:gs>
            <a:gs pos="100000">
              <a:srgbClr val="CCC5B5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Portrait of a Manager in a Logistics Company - in the Background Stock  Photo - Image of depot, industrial: 112707904">
            <a:extLst>
              <a:ext uri="{FF2B5EF4-FFF2-40B4-BE49-F238E27FC236}">
                <a16:creationId xmlns:a16="http://schemas.microsoft.com/office/drawing/2014/main" id="{26990691-1C61-EF62-7152-E6DA45DAB5D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678" y="5053789"/>
            <a:ext cx="2607842" cy="174073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80229" y="5279511"/>
            <a:ext cx="5631544" cy="739880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lnSpcReduction="1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45A74"/>
                </a:solidFill>
              </a:rPr>
              <a:t>לו״ז תכנון וביצוע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2935CA94-BD8C-930A-C296-17F46EEF1C0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919778"/>
              </p:ext>
            </p:extLst>
          </p:nvPr>
        </p:nvGraphicFramePr>
        <p:xfrm>
          <a:off x="538480" y="838610"/>
          <a:ext cx="11115040" cy="4101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22527414" imgH="6808278" progId="Excel.Sheet.12">
                  <p:link updateAutomatic="1"/>
                </p:oleObj>
              </mc:Choice>
              <mc:Fallback>
                <p:oleObj name="Worksheet" r:id="rId6" imgW="22527414" imgH="680827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8480" y="838610"/>
                        <a:ext cx="11115040" cy="41018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F2594588-CCAA-3288-0AE6-39C733F2D4C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400" end="566.6458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72573" y="7019034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8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8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1000">
              <a:srgbClr val="F7F6F6"/>
            </a:gs>
            <a:gs pos="100000">
              <a:srgbClr val="FDE66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F0DCC097-1DB8-4B6D-85D0-6FBA0E1CA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0B58608-23C8-4441-994D-C6823EEE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2083506"/>
          </a:xfrm>
          <a:custGeom>
            <a:avLst/>
            <a:gdLst>
              <a:gd name="connsiteX0" fmla="*/ 0 w 12191999"/>
              <a:gd name="connsiteY0" fmla="*/ 0 h 2083506"/>
              <a:gd name="connsiteX1" fmla="*/ 9429748 w 12191999"/>
              <a:gd name="connsiteY1" fmla="*/ 0 h 2083506"/>
              <a:gd name="connsiteX2" fmla="*/ 9429748 w 12191999"/>
              <a:gd name="connsiteY2" fmla="*/ 1 h 2083506"/>
              <a:gd name="connsiteX3" fmla="*/ 12191999 w 12191999"/>
              <a:gd name="connsiteY3" fmla="*/ 1 h 2083506"/>
              <a:gd name="connsiteX4" fmla="*/ 12191999 w 12191999"/>
              <a:gd name="connsiteY4" fmla="*/ 1164372 h 2083506"/>
              <a:gd name="connsiteX5" fmla="*/ 12147852 w 12191999"/>
              <a:gd name="connsiteY5" fmla="*/ 1163783 h 2083506"/>
              <a:gd name="connsiteX6" fmla="*/ 11993604 w 12191999"/>
              <a:gd name="connsiteY6" fmla="*/ 1153496 h 2083506"/>
              <a:gd name="connsiteX7" fmla="*/ 11865319 w 12191999"/>
              <a:gd name="connsiteY7" fmla="*/ 1176624 h 2083506"/>
              <a:gd name="connsiteX8" fmla="*/ 11718353 w 12191999"/>
              <a:gd name="connsiteY8" fmla="*/ 1209136 h 2083506"/>
              <a:gd name="connsiteX9" fmla="*/ 11609067 w 12191999"/>
              <a:gd name="connsiteY9" fmla="*/ 1218512 h 2083506"/>
              <a:gd name="connsiteX10" fmla="*/ 11545958 w 12191999"/>
              <a:gd name="connsiteY10" fmla="*/ 1240430 h 2083506"/>
              <a:gd name="connsiteX11" fmla="*/ 11445770 w 12191999"/>
              <a:gd name="connsiteY11" fmla="*/ 1225780 h 2083506"/>
              <a:gd name="connsiteX12" fmla="*/ 11398842 w 12191999"/>
              <a:gd name="connsiteY12" fmla="*/ 1227250 h 2083506"/>
              <a:gd name="connsiteX13" fmla="*/ 11240093 w 12191999"/>
              <a:gd name="connsiteY13" fmla="*/ 1266797 h 2083506"/>
              <a:gd name="connsiteX14" fmla="*/ 11141364 w 12191999"/>
              <a:gd name="connsiteY14" fmla="*/ 1288059 h 2083506"/>
              <a:gd name="connsiteX15" fmla="*/ 11015396 w 12191999"/>
              <a:gd name="connsiteY15" fmla="*/ 1353104 h 2083506"/>
              <a:gd name="connsiteX16" fmla="*/ 10973905 w 12191999"/>
              <a:gd name="connsiteY16" fmla="*/ 1365109 h 2083506"/>
              <a:gd name="connsiteX17" fmla="*/ 10904858 w 12191999"/>
              <a:gd name="connsiteY17" fmla="*/ 1371966 h 2083506"/>
              <a:gd name="connsiteX18" fmla="*/ 10827883 w 12191999"/>
              <a:gd name="connsiteY18" fmla="*/ 1410270 h 2083506"/>
              <a:gd name="connsiteX19" fmla="*/ 10690996 w 12191999"/>
              <a:gd name="connsiteY19" fmla="*/ 1426394 h 2083506"/>
              <a:gd name="connsiteX20" fmla="*/ 10624461 w 12191999"/>
              <a:gd name="connsiteY20" fmla="*/ 1444283 h 2083506"/>
              <a:gd name="connsiteX21" fmla="*/ 10517208 w 12191999"/>
              <a:gd name="connsiteY21" fmla="*/ 1478947 h 2083506"/>
              <a:gd name="connsiteX22" fmla="*/ 10497937 w 12191999"/>
              <a:gd name="connsiteY22" fmla="*/ 1469831 h 2083506"/>
              <a:gd name="connsiteX23" fmla="*/ 10471201 w 12191999"/>
              <a:gd name="connsiteY23" fmla="*/ 1486037 h 2083506"/>
              <a:gd name="connsiteX24" fmla="*/ 10448263 w 12191999"/>
              <a:gd name="connsiteY24" fmla="*/ 1478223 h 2083506"/>
              <a:gd name="connsiteX25" fmla="*/ 10388089 w 12191999"/>
              <a:gd name="connsiteY25" fmla="*/ 1507175 h 2083506"/>
              <a:gd name="connsiteX26" fmla="*/ 10333720 w 12191999"/>
              <a:gd name="connsiteY26" fmla="*/ 1515848 h 2083506"/>
              <a:gd name="connsiteX27" fmla="*/ 10104338 w 12191999"/>
              <a:gd name="connsiteY27" fmla="*/ 1569424 h 2083506"/>
              <a:gd name="connsiteX28" fmla="*/ 9910445 w 12191999"/>
              <a:gd name="connsiteY28" fmla="*/ 1632275 h 2083506"/>
              <a:gd name="connsiteX29" fmla="*/ 9770872 w 12191999"/>
              <a:gd name="connsiteY29" fmla="*/ 1688088 h 2083506"/>
              <a:gd name="connsiteX30" fmla="*/ 9733849 w 12191999"/>
              <a:gd name="connsiteY30" fmla="*/ 1700034 h 2083506"/>
              <a:gd name="connsiteX31" fmla="*/ 9703714 w 12191999"/>
              <a:gd name="connsiteY31" fmla="*/ 1730093 h 2083506"/>
              <a:gd name="connsiteX32" fmla="*/ 9698351 w 12191999"/>
              <a:gd name="connsiteY32" fmla="*/ 1730377 h 2083506"/>
              <a:gd name="connsiteX33" fmla="*/ 9632895 w 12191999"/>
              <a:gd name="connsiteY33" fmla="*/ 1736363 h 2083506"/>
              <a:gd name="connsiteX34" fmla="*/ 9569107 w 12191999"/>
              <a:gd name="connsiteY34" fmla="*/ 1741010 h 2083506"/>
              <a:gd name="connsiteX35" fmla="*/ 9536451 w 12191999"/>
              <a:gd name="connsiteY35" fmla="*/ 1755120 h 2083506"/>
              <a:gd name="connsiteX36" fmla="*/ 9529385 w 12191999"/>
              <a:gd name="connsiteY36" fmla="*/ 1757515 h 2083506"/>
              <a:gd name="connsiteX37" fmla="*/ 9498527 w 12191999"/>
              <a:gd name="connsiteY37" fmla="*/ 1753117 h 2083506"/>
              <a:gd name="connsiteX38" fmla="*/ 9436642 w 12191999"/>
              <a:gd name="connsiteY38" fmla="*/ 1755478 h 2083506"/>
              <a:gd name="connsiteX39" fmla="*/ 9429748 w 12191999"/>
              <a:gd name="connsiteY39" fmla="*/ 1756317 h 2083506"/>
              <a:gd name="connsiteX40" fmla="*/ 9429748 w 12191999"/>
              <a:gd name="connsiteY40" fmla="*/ 1768745 h 2083506"/>
              <a:gd name="connsiteX41" fmla="*/ 9425802 w 12191999"/>
              <a:gd name="connsiteY41" fmla="*/ 1769273 h 2083506"/>
              <a:gd name="connsiteX42" fmla="*/ 9349763 w 12191999"/>
              <a:gd name="connsiteY42" fmla="*/ 1776107 h 2083506"/>
              <a:gd name="connsiteX43" fmla="*/ 9256503 w 12191999"/>
              <a:gd name="connsiteY43" fmla="*/ 1800699 h 2083506"/>
              <a:gd name="connsiteX44" fmla="*/ 9222873 w 12191999"/>
              <a:gd name="connsiteY44" fmla="*/ 1803003 h 2083506"/>
              <a:gd name="connsiteX45" fmla="*/ 9224095 w 12191999"/>
              <a:gd name="connsiteY45" fmla="*/ 1807355 h 2083506"/>
              <a:gd name="connsiteX46" fmla="*/ 9211603 w 12191999"/>
              <a:gd name="connsiteY46" fmla="*/ 1807675 h 2083506"/>
              <a:gd name="connsiteX47" fmla="*/ 9183719 w 12191999"/>
              <a:gd name="connsiteY47" fmla="*/ 1807781 h 2083506"/>
              <a:gd name="connsiteX48" fmla="*/ 9100221 w 12191999"/>
              <a:gd name="connsiteY48" fmla="*/ 1808989 h 2083506"/>
              <a:gd name="connsiteX49" fmla="*/ 9077439 w 12191999"/>
              <a:gd name="connsiteY49" fmla="*/ 1817333 h 2083506"/>
              <a:gd name="connsiteX50" fmla="*/ 9055889 w 12191999"/>
              <a:gd name="connsiteY50" fmla="*/ 1817464 h 2083506"/>
              <a:gd name="connsiteX51" fmla="*/ 8930912 w 12191999"/>
              <a:gd name="connsiteY51" fmla="*/ 1828648 h 2083506"/>
              <a:gd name="connsiteX52" fmla="*/ 8913729 w 12191999"/>
              <a:gd name="connsiteY52" fmla="*/ 1829483 h 2083506"/>
              <a:gd name="connsiteX53" fmla="*/ 8904423 w 12191999"/>
              <a:gd name="connsiteY53" fmla="*/ 1833234 h 2083506"/>
              <a:gd name="connsiteX54" fmla="*/ 8871099 w 12191999"/>
              <a:gd name="connsiteY54" fmla="*/ 1833979 h 2083506"/>
              <a:gd name="connsiteX55" fmla="*/ 8869557 w 12191999"/>
              <a:gd name="connsiteY55" fmla="*/ 1836113 h 2083506"/>
              <a:gd name="connsiteX56" fmla="*/ 8760021 w 12191999"/>
              <a:gd name="connsiteY56" fmla="*/ 1854442 h 2083506"/>
              <a:gd name="connsiteX57" fmla="*/ 8741254 w 12191999"/>
              <a:gd name="connsiteY57" fmla="*/ 1857469 h 2083506"/>
              <a:gd name="connsiteX58" fmla="*/ 8725039 w 12191999"/>
              <a:gd name="connsiteY58" fmla="*/ 1856552 h 2083506"/>
              <a:gd name="connsiteX59" fmla="*/ 8635265 w 12191999"/>
              <a:gd name="connsiteY59" fmla="*/ 1859168 h 2083506"/>
              <a:gd name="connsiteX60" fmla="*/ 8613911 w 12191999"/>
              <a:gd name="connsiteY60" fmla="*/ 1857561 h 2083506"/>
              <a:gd name="connsiteX61" fmla="*/ 8604931 w 12191999"/>
              <a:gd name="connsiteY61" fmla="*/ 1854170 h 2083506"/>
              <a:gd name="connsiteX62" fmla="*/ 8570171 w 12191999"/>
              <a:gd name="connsiteY62" fmla="*/ 1860579 h 2083506"/>
              <a:gd name="connsiteX63" fmla="*/ 8516537 w 12191999"/>
              <a:gd name="connsiteY63" fmla="*/ 1864971 h 2083506"/>
              <a:gd name="connsiteX64" fmla="*/ 8491046 w 12191999"/>
              <a:gd name="connsiteY64" fmla="*/ 1868141 h 2083506"/>
              <a:gd name="connsiteX65" fmla="*/ 8470478 w 12191999"/>
              <a:gd name="connsiteY65" fmla="*/ 1866216 h 2083506"/>
              <a:gd name="connsiteX66" fmla="*/ 8353433 w 12191999"/>
              <a:gd name="connsiteY66" fmla="*/ 1865729 h 2083506"/>
              <a:gd name="connsiteX67" fmla="*/ 8347675 w 12191999"/>
              <a:gd name="connsiteY67" fmla="*/ 1865075 h 2083506"/>
              <a:gd name="connsiteX68" fmla="*/ 8343939 w 12191999"/>
              <a:gd name="connsiteY68" fmla="*/ 1865677 h 2083506"/>
              <a:gd name="connsiteX69" fmla="*/ 8221566 w 12191999"/>
              <a:gd name="connsiteY69" fmla="*/ 1881148 h 2083506"/>
              <a:gd name="connsiteX70" fmla="*/ 8066095 w 12191999"/>
              <a:gd name="connsiteY70" fmla="*/ 1919902 h 2083506"/>
              <a:gd name="connsiteX71" fmla="*/ 8044849 w 12191999"/>
              <a:gd name="connsiteY71" fmla="*/ 1916308 h 2083506"/>
              <a:gd name="connsiteX72" fmla="*/ 8041142 w 12191999"/>
              <a:gd name="connsiteY72" fmla="*/ 1915506 h 2083506"/>
              <a:gd name="connsiteX73" fmla="*/ 8022159 w 12191999"/>
              <a:gd name="connsiteY73" fmla="*/ 1911521 h 2083506"/>
              <a:gd name="connsiteX74" fmla="*/ 7944932 w 12191999"/>
              <a:gd name="connsiteY74" fmla="*/ 1917265 h 2083506"/>
              <a:gd name="connsiteX75" fmla="*/ 7879011 w 12191999"/>
              <a:gd name="connsiteY75" fmla="*/ 1928570 h 2083506"/>
              <a:gd name="connsiteX76" fmla="*/ 7865529 w 12191999"/>
              <a:gd name="connsiteY76" fmla="*/ 1934399 h 2083506"/>
              <a:gd name="connsiteX77" fmla="*/ 7774801 w 12191999"/>
              <a:gd name="connsiteY77" fmla="*/ 1947969 h 2083506"/>
              <a:gd name="connsiteX78" fmla="*/ 7748398 w 12191999"/>
              <a:gd name="connsiteY78" fmla="*/ 1955982 h 2083506"/>
              <a:gd name="connsiteX79" fmla="*/ 7740684 w 12191999"/>
              <a:gd name="connsiteY79" fmla="*/ 1955717 h 2083506"/>
              <a:gd name="connsiteX80" fmla="*/ 7712976 w 12191999"/>
              <a:gd name="connsiteY80" fmla="*/ 1960442 h 2083506"/>
              <a:gd name="connsiteX81" fmla="*/ 7699956 w 12191999"/>
              <a:gd name="connsiteY81" fmla="*/ 1966104 h 2083506"/>
              <a:gd name="connsiteX82" fmla="*/ 7684158 w 12191999"/>
              <a:gd name="connsiteY82" fmla="*/ 1962927 h 2083506"/>
              <a:gd name="connsiteX83" fmla="*/ 7643109 w 12191999"/>
              <a:gd name="connsiteY83" fmla="*/ 1964400 h 2083506"/>
              <a:gd name="connsiteX84" fmla="*/ 7630180 w 12191999"/>
              <a:gd name="connsiteY84" fmla="*/ 1970266 h 2083506"/>
              <a:gd name="connsiteX85" fmla="*/ 7609131 w 12191999"/>
              <a:gd name="connsiteY85" fmla="*/ 1971774 h 2083506"/>
              <a:gd name="connsiteX86" fmla="*/ 7555555 w 12191999"/>
              <a:gd name="connsiteY86" fmla="*/ 1969491 h 2083506"/>
              <a:gd name="connsiteX87" fmla="*/ 7520919 w 12191999"/>
              <a:gd name="connsiteY87" fmla="*/ 1970177 h 2083506"/>
              <a:gd name="connsiteX88" fmla="*/ 7456258 w 12191999"/>
              <a:gd name="connsiteY88" fmla="*/ 1960468 h 2083506"/>
              <a:gd name="connsiteX89" fmla="*/ 7393047 w 12191999"/>
              <a:gd name="connsiteY89" fmla="*/ 1952408 h 2083506"/>
              <a:gd name="connsiteX90" fmla="*/ 7199912 w 12191999"/>
              <a:gd name="connsiteY90" fmla="*/ 1959913 h 2083506"/>
              <a:gd name="connsiteX91" fmla="*/ 7146774 w 12191999"/>
              <a:gd name="connsiteY91" fmla="*/ 1956641 h 2083506"/>
              <a:gd name="connsiteX92" fmla="*/ 7122244 w 12191999"/>
              <a:gd name="connsiteY92" fmla="*/ 1953891 h 2083506"/>
              <a:gd name="connsiteX93" fmla="*/ 7032241 w 12191999"/>
              <a:gd name="connsiteY93" fmla="*/ 1962723 h 2083506"/>
              <a:gd name="connsiteX94" fmla="*/ 6941492 w 12191999"/>
              <a:gd name="connsiteY94" fmla="*/ 1976868 h 2083506"/>
              <a:gd name="connsiteX95" fmla="*/ 6906514 w 12191999"/>
              <a:gd name="connsiteY95" fmla="*/ 1968589 h 2083506"/>
              <a:gd name="connsiteX96" fmla="*/ 6826395 w 12191999"/>
              <a:gd name="connsiteY96" fmla="*/ 1974141 h 2083506"/>
              <a:gd name="connsiteX97" fmla="*/ 6716431 w 12191999"/>
              <a:gd name="connsiteY97" fmla="*/ 2004297 h 2083506"/>
              <a:gd name="connsiteX98" fmla="*/ 6569607 w 12191999"/>
              <a:gd name="connsiteY98" fmla="*/ 2015496 h 2083506"/>
              <a:gd name="connsiteX99" fmla="*/ 6561430 w 12191999"/>
              <a:gd name="connsiteY99" fmla="*/ 2020996 h 2083506"/>
              <a:gd name="connsiteX100" fmla="*/ 6549371 w 12191999"/>
              <a:gd name="connsiteY100" fmla="*/ 2024747 h 2083506"/>
              <a:gd name="connsiteX101" fmla="*/ 6547040 w 12191999"/>
              <a:gd name="connsiteY101" fmla="*/ 2024474 h 2083506"/>
              <a:gd name="connsiteX102" fmla="*/ 6530482 w 12191999"/>
              <a:gd name="connsiteY102" fmla="*/ 2026659 h 2083506"/>
              <a:gd name="connsiteX103" fmla="*/ 6528565 w 12191999"/>
              <a:gd name="connsiteY103" fmla="*/ 2028600 h 2083506"/>
              <a:gd name="connsiteX104" fmla="*/ 6517741 w 12191999"/>
              <a:gd name="connsiteY104" fmla="*/ 2030558 h 2083506"/>
              <a:gd name="connsiteX105" fmla="*/ 6497855 w 12191999"/>
              <a:gd name="connsiteY105" fmla="*/ 2035650 h 2083506"/>
              <a:gd name="connsiteX106" fmla="*/ 6492785 w 12191999"/>
              <a:gd name="connsiteY106" fmla="*/ 2035444 h 2083506"/>
              <a:gd name="connsiteX107" fmla="*/ 6460692 w 12191999"/>
              <a:gd name="connsiteY107" fmla="*/ 2041321 h 2083506"/>
              <a:gd name="connsiteX108" fmla="*/ 6459609 w 12191999"/>
              <a:gd name="connsiteY108" fmla="*/ 2040851 h 2083506"/>
              <a:gd name="connsiteX109" fmla="*/ 6447765 w 12191999"/>
              <a:gd name="connsiteY109" fmla="*/ 2040102 h 2083506"/>
              <a:gd name="connsiteX110" fmla="*/ 6426590 w 12191999"/>
              <a:gd name="connsiteY110" fmla="*/ 2039928 h 2083506"/>
              <a:gd name="connsiteX111" fmla="*/ 6401693 w 12191999"/>
              <a:gd name="connsiteY111" fmla="*/ 2033537 h 2083506"/>
              <a:gd name="connsiteX112" fmla="*/ 6387141 w 12191999"/>
              <a:gd name="connsiteY112" fmla="*/ 2033161 h 2083506"/>
              <a:gd name="connsiteX113" fmla="*/ 6357846 w 12191999"/>
              <a:gd name="connsiteY113" fmla="*/ 2036782 h 2083506"/>
              <a:gd name="connsiteX114" fmla="*/ 6342914 w 12191999"/>
              <a:gd name="connsiteY114" fmla="*/ 2037585 h 2083506"/>
              <a:gd name="connsiteX115" fmla="*/ 6336300 w 12191999"/>
              <a:gd name="connsiteY115" fmla="*/ 2038781 h 2083506"/>
              <a:gd name="connsiteX116" fmla="*/ 6317178 w 12191999"/>
              <a:gd name="connsiteY116" fmla="*/ 2038968 h 2083506"/>
              <a:gd name="connsiteX117" fmla="*/ 6161427 w 12191999"/>
              <a:gd name="connsiteY117" fmla="*/ 2047338 h 2083506"/>
              <a:gd name="connsiteX118" fmla="*/ 6097339 w 12191999"/>
              <a:gd name="connsiteY118" fmla="*/ 2082438 h 2083506"/>
              <a:gd name="connsiteX119" fmla="*/ 6079059 w 12191999"/>
              <a:gd name="connsiteY119" fmla="*/ 2081299 h 2083506"/>
              <a:gd name="connsiteX120" fmla="*/ 5998439 w 12191999"/>
              <a:gd name="connsiteY120" fmla="*/ 2070958 h 2083506"/>
              <a:gd name="connsiteX121" fmla="*/ 5904290 w 12191999"/>
              <a:gd name="connsiteY121" fmla="*/ 2070255 h 2083506"/>
              <a:gd name="connsiteX122" fmla="*/ 5814867 w 12191999"/>
              <a:gd name="connsiteY122" fmla="*/ 2079032 h 2083506"/>
              <a:gd name="connsiteX123" fmla="*/ 5725743 w 12191999"/>
              <a:gd name="connsiteY123" fmla="*/ 2070558 h 2083506"/>
              <a:gd name="connsiteX124" fmla="*/ 5650546 w 12191999"/>
              <a:gd name="connsiteY124" fmla="*/ 2052412 h 2083506"/>
              <a:gd name="connsiteX125" fmla="*/ 5581284 w 12191999"/>
              <a:gd name="connsiteY125" fmla="*/ 2023175 h 2083506"/>
              <a:gd name="connsiteX126" fmla="*/ 5572593 w 12191999"/>
              <a:gd name="connsiteY126" fmla="*/ 2018391 h 2083506"/>
              <a:gd name="connsiteX127" fmla="*/ 5548580 w 12191999"/>
              <a:gd name="connsiteY127" fmla="*/ 2016951 h 2083506"/>
              <a:gd name="connsiteX128" fmla="*/ 5471173 w 12191999"/>
              <a:gd name="connsiteY128" fmla="*/ 2018786 h 2083506"/>
              <a:gd name="connsiteX129" fmla="*/ 5340320 w 12191999"/>
              <a:gd name="connsiteY129" fmla="*/ 2037611 h 2083506"/>
              <a:gd name="connsiteX130" fmla="*/ 5254376 w 12191999"/>
              <a:gd name="connsiteY130" fmla="*/ 2042928 h 2083506"/>
              <a:gd name="connsiteX131" fmla="*/ 5258035 w 12191999"/>
              <a:gd name="connsiteY131" fmla="*/ 2035649 h 2083506"/>
              <a:gd name="connsiteX132" fmla="*/ 5230622 w 12191999"/>
              <a:gd name="connsiteY132" fmla="*/ 2024576 h 2083506"/>
              <a:gd name="connsiteX133" fmla="*/ 5026203 w 12191999"/>
              <a:gd name="connsiteY133" fmla="*/ 2030162 h 2083506"/>
              <a:gd name="connsiteX134" fmla="*/ 4973988 w 12191999"/>
              <a:gd name="connsiteY134" fmla="*/ 2026668 h 2083506"/>
              <a:gd name="connsiteX135" fmla="*/ 4928030 w 12191999"/>
              <a:gd name="connsiteY135" fmla="*/ 2033642 h 2083506"/>
              <a:gd name="connsiteX136" fmla="*/ 4908970 w 12191999"/>
              <a:gd name="connsiteY136" fmla="*/ 2030033 h 2083506"/>
              <a:gd name="connsiteX137" fmla="*/ 4905679 w 12191999"/>
              <a:gd name="connsiteY137" fmla="*/ 2029300 h 2083506"/>
              <a:gd name="connsiteX138" fmla="*/ 4892525 w 12191999"/>
              <a:gd name="connsiteY138" fmla="*/ 2028768 h 2083506"/>
              <a:gd name="connsiteX139" fmla="*/ 4888818 w 12191999"/>
              <a:gd name="connsiteY139" fmla="*/ 2025619 h 2083506"/>
              <a:gd name="connsiteX140" fmla="*/ 4869018 w 12191999"/>
              <a:gd name="connsiteY140" fmla="*/ 2022668 h 2083506"/>
              <a:gd name="connsiteX141" fmla="*/ 4844804 w 12191999"/>
              <a:gd name="connsiteY141" fmla="*/ 2022527 h 2083506"/>
              <a:gd name="connsiteX142" fmla="*/ 4758778 w 12191999"/>
              <a:gd name="connsiteY142" fmla="*/ 2021694 h 2083506"/>
              <a:gd name="connsiteX143" fmla="*/ 4744748 w 12191999"/>
              <a:gd name="connsiteY143" fmla="*/ 2023396 h 2083506"/>
              <a:gd name="connsiteX144" fmla="*/ 4698956 w 12191999"/>
              <a:gd name="connsiteY144" fmla="*/ 2020558 h 2083506"/>
              <a:gd name="connsiteX145" fmla="*/ 4658147 w 12191999"/>
              <a:gd name="connsiteY145" fmla="*/ 2019920 h 2083506"/>
              <a:gd name="connsiteX146" fmla="*/ 4631706 w 12191999"/>
              <a:gd name="connsiteY146" fmla="*/ 2021274 h 2083506"/>
              <a:gd name="connsiteX147" fmla="*/ 4624776 w 12191999"/>
              <a:gd name="connsiteY147" fmla="*/ 2020152 h 2083506"/>
              <a:gd name="connsiteX148" fmla="*/ 4598150 w 12191999"/>
              <a:gd name="connsiteY148" fmla="*/ 2019429 h 2083506"/>
              <a:gd name="connsiteX149" fmla="*/ 4584588 w 12191999"/>
              <a:gd name="connsiteY149" fmla="*/ 2021092 h 2083506"/>
              <a:gd name="connsiteX150" fmla="*/ 4571203 w 12191999"/>
              <a:gd name="connsiteY150" fmla="*/ 2017263 h 2083506"/>
              <a:gd name="connsiteX151" fmla="*/ 4567930 w 12191999"/>
              <a:gd name="connsiteY151" fmla="*/ 2014458 h 2083506"/>
              <a:gd name="connsiteX152" fmla="*/ 4548984 w 12191999"/>
              <a:gd name="connsiteY152" fmla="*/ 2015717 h 2083506"/>
              <a:gd name="connsiteX153" fmla="*/ 4533451 w 12191999"/>
              <a:gd name="connsiteY153" fmla="*/ 2012976 h 2083506"/>
              <a:gd name="connsiteX154" fmla="*/ 4519910 w 12191999"/>
              <a:gd name="connsiteY154" fmla="*/ 2014768 h 2083506"/>
              <a:gd name="connsiteX155" fmla="*/ 4514290 w 12191999"/>
              <a:gd name="connsiteY155" fmla="*/ 2014364 h 2083506"/>
              <a:gd name="connsiteX156" fmla="*/ 4500320 w 12191999"/>
              <a:gd name="connsiteY156" fmla="*/ 2013007 h 2083506"/>
              <a:gd name="connsiteX157" fmla="*/ 4476219 w 12191999"/>
              <a:gd name="connsiteY157" fmla="*/ 2009993 h 2083506"/>
              <a:gd name="connsiteX158" fmla="*/ 4468701 w 12191999"/>
              <a:gd name="connsiteY158" fmla="*/ 2009574 h 2083506"/>
              <a:gd name="connsiteX159" fmla="*/ 4452333 w 12191999"/>
              <a:gd name="connsiteY159" fmla="*/ 2004964 h 2083506"/>
              <a:gd name="connsiteX160" fmla="*/ 4420644 w 12191999"/>
              <a:gd name="connsiteY160" fmla="*/ 2001021 h 2083506"/>
              <a:gd name="connsiteX161" fmla="*/ 4364856 w 12191999"/>
              <a:gd name="connsiteY161" fmla="*/ 1987267 h 2083506"/>
              <a:gd name="connsiteX162" fmla="*/ 4332062 w 12191999"/>
              <a:gd name="connsiteY162" fmla="*/ 1980703 h 2083506"/>
              <a:gd name="connsiteX163" fmla="*/ 4309876 w 12191999"/>
              <a:gd name="connsiteY163" fmla="*/ 1974653 h 2083506"/>
              <a:gd name="connsiteX164" fmla="*/ 4244391 w 12191999"/>
              <a:gd name="connsiteY164" fmla="*/ 1966109 h 2083506"/>
              <a:gd name="connsiteX165" fmla="*/ 4132071 w 12191999"/>
              <a:gd name="connsiteY165" fmla="*/ 1954813 h 2083506"/>
              <a:gd name="connsiteX166" fmla="*/ 4109069 w 12191999"/>
              <a:gd name="connsiteY166" fmla="*/ 1951778 h 2083506"/>
              <a:gd name="connsiteX167" fmla="*/ 4092908 w 12191999"/>
              <a:gd name="connsiteY167" fmla="*/ 1946662 h 2083506"/>
              <a:gd name="connsiteX168" fmla="*/ 4092306 w 12191999"/>
              <a:gd name="connsiteY168" fmla="*/ 1943291 h 2083506"/>
              <a:gd name="connsiteX169" fmla="*/ 4080234 w 12191999"/>
              <a:gd name="connsiteY169" fmla="*/ 1941219 h 2083506"/>
              <a:gd name="connsiteX170" fmla="*/ 4077778 w 12191999"/>
              <a:gd name="connsiteY170" fmla="*/ 1940145 h 2083506"/>
              <a:gd name="connsiteX171" fmla="*/ 4062936 w 12191999"/>
              <a:gd name="connsiteY171" fmla="*/ 1934506 h 2083506"/>
              <a:gd name="connsiteX172" fmla="*/ 4012506 w 12191999"/>
              <a:gd name="connsiteY172" fmla="*/ 1935475 h 2083506"/>
              <a:gd name="connsiteX173" fmla="*/ 3965880 w 12191999"/>
              <a:gd name="connsiteY173" fmla="*/ 1925968 h 2083506"/>
              <a:gd name="connsiteX174" fmla="*/ 3765338 w 12191999"/>
              <a:gd name="connsiteY174" fmla="*/ 1906649 h 2083506"/>
              <a:gd name="connsiteX175" fmla="*/ 3749493 w 12191999"/>
              <a:gd name="connsiteY175" fmla="*/ 1893071 h 2083506"/>
              <a:gd name="connsiteX176" fmla="*/ 3672704 w 12191999"/>
              <a:gd name="connsiteY176" fmla="*/ 1881383 h 2083506"/>
              <a:gd name="connsiteX177" fmla="*/ 3530082 w 12191999"/>
              <a:gd name="connsiteY177" fmla="*/ 1883187 h 2083506"/>
              <a:gd name="connsiteX178" fmla="*/ 3387664 w 12191999"/>
              <a:gd name="connsiteY178" fmla="*/ 1862579 h 2083506"/>
              <a:gd name="connsiteX179" fmla="*/ 3371681 w 12191999"/>
              <a:gd name="connsiteY179" fmla="*/ 1865293 h 2083506"/>
              <a:gd name="connsiteX180" fmla="*/ 3355305 w 12191999"/>
              <a:gd name="connsiteY180" fmla="*/ 1865842 h 2083506"/>
              <a:gd name="connsiteX181" fmla="*/ 3353790 w 12191999"/>
              <a:gd name="connsiteY181" fmla="*/ 1865158 h 2083506"/>
              <a:gd name="connsiteX182" fmla="*/ 3336210 w 12191999"/>
              <a:gd name="connsiteY182" fmla="*/ 1863564 h 2083506"/>
              <a:gd name="connsiteX183" fmla="*/ 3331381 w 12191999"/>
              <a:gd name="connsiteY183" fmla="*/ 1864716 h 2083506"/>
              <a:gd name="connsiteX184" fmla="*/ 3319012 w 12191999"/>
              <a:gd name="connsiteY184" fmla="*/ 1864093 h 2083506"/>
              <a:gd name="connsiteX185" fmla="*/ 3293818 w 12191999"/>
              <a:gd name="connsiteY185" fmla="*/ 1864135 h 2083506"/>
              <a:gd name="connsiteX186" fmla="*/ 3289881 w 12191999"/>
              <a:gd name="connsiteY186" fmla="*/ 1862954 h 2083506"/>
              <a:gd name="connsiteX187" fmla="*/ 3253090 w 12191999"/>
              <a:gd name="connsiteY187" fmla="*/ 1861164 h 2083506"/>
              <a:gd name="connsiteX188" fmla="*/ 3252949 w 12191999"/>
              <a:gd name="connsiteY188" fmla="*/ 1860574 h 2083506"/>
              <a:gd name="connsiteX189" fmla="*/ 3244187 w 12191999"/>
              <a:gd name="connsiteY189" fmla="*/ 1857604 h 2083506"/>
              <a:gd name="connsiteX190" fmla="*/ 3246570 w 12191999"/>
              <a:gd name="connsiteY190" fmla="*/ 1852946 h 2083506"/>
              <a:gd name="connsiteX191" fmla="*/ 3237810 w 12191999"/>
              <a:gd name="connsiteY191" fmla="*/ 1853064 h 2083506"/>
              <a:gd name="connsiteX192" fmla="*/ 3230822 w 12191999"/>
              <a:gd name="connsiteY192" fmla="*/ 1855474 h 2083506"/>
              <a:gd name="connsiteX193" fmla="*/ 3136549 w 12191999"/>
              <a:gd name="connsiteY193" fmla="*/ 1874037 h 2083506"/>
              <a:gd name="connsiteX194" fmla="*/ 2845754 w 12191999"/>
              <a:gd name="connsiteY194" fmla="*/ 1910932 h 2083506"/>
              <a:gd name="connsiteX195" fmla="*/ 2786878 w 12191999"/>
              <a:gd name="connsiteY195" fmla="*/ 1917162 h 2083506"/>
              <a:gd name="connsiteX196" fmla="*/ 2725298 w 12191999"/>
              <a:gd name="connsiteY196" fmla="*/ 1912340 h 2083506"/>
              <a:gd name="connsiteX197" fmla="*/ 2697754 w 12191999"/>
              <a:gd name="connsiteY197" fmla="*/ 1914863 h 2083506"/>
              <a:gd name="connsiteX198" fmla="*/ 2568063 w 12191999"/>
              <a:gd name="connsiteY198" fmla="*/ 1936283 h 2083506"/>
              <a:gd name="connsiteX199" fmla="*/ 2489784 w 12191999"/>
              <a:gd name="connsiteY199" fmla="*/ 1943720 h 2083506"/>
              <a:gd name="connsiteX200" fmla="*/ 2458978 w 12191999"/>
              <a:gd name="connsiteY200" fmla="*/ 1938095 h 2083506"/>
              <a:gd name="connsiteX201" fmla="*/ 2318712 w 12191999"/>
              <a:gd name="connsiteY201" fmla="*/ 1934474 h 2083506"/>
              <a:gd name="connsiteX202" fmla="*/ 2268709 w 12191999"/>
              <a:gd name="connsiteY202" fmla="*/ 1940521 h 2083506"/>
              <a:gd name="connsiteX203" fmla="*/ 2264080 w 12191999"/>
              <a:gd name="connsiteY203" fmla="*/ 1941232 h 2083506"/>
              <a:gd name="connsiteX204" fmla="*/ 2254684 w 12191999"/>
              <a:gd name="connsiteY204" fmla="*/ 1943524 h 2083506"/>
              <a:gd name="connsiteX205" fmla="*/ 2252523 w 12191999"/>
              <a:gd name="connsiteY205" fmla="*/ 1943004 h 2083506"/>
              <a:gd name="connsiteX206" fmla="*/ 2173350 w 12191999"/>
              <a:gd name="connsiteY206" fmla="*/ 1929202 h 2083506"/>
              <a:gd name="connsiteX207" fmla="*/ 2155266 w 12191999"/>
              <a:gd name="connsiteY207" fmla="*/ 1920267 h 2083506"/>
              <a:gd name="connsiteX208" fmla="*/ 2091013 w 12191999"/>
              <a:gd name="connsiteY208" fmla="*/ 1914631 h 2083506"/>
              <a:gd name="connsiteX209" fmla="*/ 2030712 w 12191999"/>
              <a:gd name="connsiteY209" fmla="*/ 1897690 h 2083506"/>
              <a:gd name="connsiteX210" fmla="*/ 1908838 w 12191999"/>
              <a:gd name="connsiteY210" fmla="*/ 1892222 h 2083506"/>
              <a:gd name="connsiteX211" fmla="*/ 1877796 w 12191999"/>
              <a:gd name="connsiteY211" fmla="*/ 1883887 h 2083506"/>
              <a:gd name="connsiteX212" fmla="*/ 1875824 w 12191999"/>
              <a:gd name="connsiteY212" fmla="*/ 1879265 h 2083506"/>
              <a:gd name="connsiteX213" fmla="*/ 1823048 w 12191999"/>
              <a:gd name="connsiteY213" fmla="*/ 1881064 h 2083506"/>
              <a:gd name="connsiteX214" fmla="*/ 1765736 w 12191999"/>
              <a:gd name="connsiteY214" fmla="*/ 1856578 h 2083506"/>
              <a:gd name="connsiteX215" fmla="*/ 1725669 w 12191999"/>
              <a:gd name="connsiteY215" fmla="*/ 1833744 h 2083506"/>
              <a:gd name="connsiteX216" fmla="*/ 1725216 w 12191999"/>
              <a:gd name="connsiteY216" fmla="*/ 1829447 h 2083506"/>
              <a:gd name="connsiteX217" fmla="*/ 1721485 w 12191999"/>
              <a:gd name="connsiteY217" fmla="*/ 1828960 h 2083506"/>
              <a:gd name="connsiteX218" fmla="*/ 1717786 w 12191999"/>
              <a:gd name="connsiteY218" fmla="*/ 1832224 h 2083506"/>
              <a:gd name="connsiteX219" fmla="*/ 1689907 w 12191999"/>
              <a:gd name="connsiteY219" fmla="*/ 1825425 h 2083506"/>
              <a:gd name="connsiteX220" fmla="*/ 1688093 w 12191999"/>
              <a:gd name="connsiteY220" fmla="*/ 1817391 h 2083506"/>
              <a:gd name="connsiteX221" fmla="*/ 1496789 w 12191999"/>
              <a:gd name="connsiteY221" fmla="*/ 1805297 h 2083506"/>
              <a:gd name="connsiteX222" fmla="*/ 1392839 w 12191999"/>
              <a:gd name="connsiteY222" fmla="*/ 1758649 h 2083506"/>
              <a:gd name="connsiteX223" fmla="*/ 1360872 w 12191999"/>
              <a:gd name="connsiteY223" fmla="*/ 1752441 h 2083506"/>
              <a:gd name="connsiteX224" fmla="*/ 1313885 w 12191999"/>
              <a:gd name="connsiteY224" fmla="*/ 1731785 h 2083506"/>
              <a:gd name="connsiteX225" fmla="*/ 1247665 w 12191999"/>
              <a:gd name="connsiteY225" fmla="*/ 1727765 h 2083506"/>
              <a:gd name="connsiteX226" fmla="*/ 1196850 w 12191999"/>
              <a:gd name="connsiteY226" fmla="*/ 1729622 h 2083506"/>
              <a:gd name="connsiteX227" fmla="*/ 1168728 w 12191999"/>
              <a:gd name="connsiteY227" fmla="*/ 1728550 h 2083506"/>
              <a:gd name="connsiteX228" fmla="*/ 1096918 w 12191999"/>
              <a:gd name="connsiteY228" fmla="*/ 1721485 h 2083506"/>
              <a:gd name="connsiteX229" fmla="*/ 1094082 w 12191999"/>
              <a:gd name="connsiteY229" fmla="*/ 1720113 h 2083506"/>
              <a:gd name="connsiteX230" fmla="*/ 1040782 w 12191999"/>
              <a:gd name="connsiteY230" fmla="*/ 1721762 h 2083506"/>
              <a:gd name="connsiteX231" fmla="*/ 955980 w 12191999"/>
              <a:gd name="connsiteY231" fmla="*/ 1719289 h 2083506"/>
              <a:gd name="connsiteX232" fmla="*/ 926108 w 12191999"/>
              <a:gd name="connsiteY232" fmla="*/ 1715917 h 2083506"/>
              <a:gd name="connsiteX233" fmla="*/ 876049 w 12191999"/>
              <a:gd name="connsiteY233" fmla="*/ 1710422 h 2083506"/>
              <a:gd name="connsiteX234" fmla="*/ 839194 w 12191999"/>
              <a:gd name="connsiteY234" fmla="*/ 1700176 h 2083506"/>
              <a:gd name="connsiteX235" fmla="*/ 797112 w 12191999"/>
              <a:gd name="connsiteY235" fmla="*/ 1698014 h 2083506"/>
              <a:gd name="connsiteX236" fmla="*/ 786610 w 12191999"/>
              <a:gd name="connsiteY236" fmla="*/ 1705455 h 2083506"/>
              <a:gd name="connsiteX237" fmla="*/ 741833 w 12191999"/>
              <a:gd name="connsiteY237" fmla="*/ 1700566 h 2083506"/>
              <a:gd name="connsiteX238" fmla="*/ 673985 w 12191999"/>
              <a:gd name="connsiteY238" fmla="*/ 1692278 h 2083506"/>
              <a:gd name="connsiteX239" fmla="*/ 634665 w 12191999"/>
              <a:gd name="connsiteY239" fmla="*/ 1689550 h 2083506"/>
              <a:gd name="connsiteX240" fmla="*/ 527471 w 12191999"/>
              <a:gd name="connsiteY240" fmla="*/ 1679869 h 2083506"/>
              <a:gd name="connsiteX241" fmla="*/ 420260 w 12191999"/>
              <a:gd name="connsiteY241" fmla="*/ 1668475 h 2083506"/>
              <a:gd name="connsiteX242" fmla="*/ 357630 w 12191999"/>
              <a:gd name="connsiteY242" fmla="*/ 1652142 h 2083506"/>
              <a:gd name="connsiteX243" fmla="*/ 269407 w 12191999"/>
              <a:gd name="connsiteY243" fmla="*/ 1643812 h 2083506"/>
              <a:gd name="connsiteX244" fmla="*/ 254769 w 12191999"/>
              <a:gd name="connsiteY244" fmla="*/ 1641013 h 2083506"/>
              <a:gd name="connsiteX245" fmla="*/ 150763 w 12191999"/>
              <a:gd name="connsiteY245" fmla="*/ 1628143 h 2083506"/>
              <a:gd name="connsiteX246" fmla="*/ 29133 w 12191999"/>
              <a:gd name="connsiteY246" fmla="*/ 1626172 h 2083506"/>
              <a:gd name="connsiteX247" fmla="*/ 0 w 12191999"/>
              <a:gd name="connsiteY247" fmla="*/ 1619589 h 2083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191999" h="2083506">
                <a:moveTo>
                  <a:pt x="0" y="0"/>
                </a:moveTo>
                <a:lnTo>
                  <a:pt x="9429748" y="0"/>
                </a:lnTo>
                <a:lnTo>
                  <a:pt x="9429748" y="1"/>
                </a:lnTo>
                <a:lnTo>
                  <a:pt x="12191999" y="1"/>
                </a:lnTo>
                <a:lnTo>
                  <a:pt x="12191999" y="1164372"/>
                </a:lnTo>
                <a:lnTo>
                  <a:pt x="12147852" y="1163783"/>
                </a:lnTo>
                <a:cubicBezTo>
                  <a:pt x="12063101" y="1189107"/>
                  <a:pt x="12045020" y="1156925"/>
                  <a:pt x="11993604" y="1153496"/>
                </a:cubicBezTo>
                <a:cubicBezTo>
                  <a:pt x="11954216" y="1165241"/>
                  <a:pt x="11911195" y="1167350"/>
                  <a:pt x="11865319" y="1176624"/>
                </a:cubicBezTo>
                <a:cubicBezTo>
                  <a:pt x="11822513" y="1184682"/>
                  <a:pt x="11766915" y="1201558"/>
                  <a:pt x="11718353" y="1209136"/>
                </a:cubicBezTo>
                <a:cubicBezTo>
                  <a:pt x="11675379" y="1217463"/>
                  <a:pt x="11638007" y="1216639"/>
                  <a:pt x="11609067" y="1218512"/>
                </a:cubicBezTo>
                <a:cubicBezTo>
                  <a:pt x="11597582" y="1221322"/>
                  <a:pt x="11554280" y="1243577"/>
                  <a:pt x="11545958" y="1240430"/>
                </a:cubicBezTo>
                <a:lnTo>
                  <a:pt x="11445770" y="1225780"/>
                </a:lnTo>
                <a:cubicBezTo>
                  <a:pt x="11425543" y="1230782"/>
                  <a:pt x="11413740" y="1222096"/>
                  <a:pt x="11398842" y="1227250"/>
                </a:cubicBezTo>
                <a:cubicBezTo>
                  <a:pt x="11367060" y="1233093"/>
                  <a:pt x="11269285" y="1263712"/>
                  <a:pt x="11240093" y="1266797"/>
                </a:cubicBezTo>
                <a:cubicBezTo>
                  <a:pt x="11197297" y="1273685"/>
                  <a:pt x="11181311" y="1272682"/>
                  <a:pt x="11141364" y="1288059"/>
                </a:cubicBezTo>
                <a:cubicBezTo>
                  <a:pt x="11099891" y="1305386"/>
                  <a:pt x="11051533" y="1319157"/>
                  <a:pt x="11015396" y="1353104"/>
                </a:cubicBezTo>
                <a:cubicBezTo>
                  <a:pt x="11009424" y="1362217"/>
                  <a:pt x="10992328" y="1361966"/>
                  <a:pt x="10973905" y="1365109"/>
                </a:cubicBezTo>
                <a:cubicBezTo>
                  <a:pt x="10955482" y="1368254"/>
                  <a:pt x="10907369" y="1372817"/>
                  <a:pt x="10904858" y="1371966"/>
                </a:cubicBezTo>
                <a:cubicBezTo>
                  <a:pt x="10880521" y="1379494"/>
                  <a:pt x="10873670" y="1399734"/>
                  <a:pt x="10827883" y="1410270"/>
                </a:cubicBezTo>
                <a:cubicBezTo>
                  <a:pt x="10790248" y="1415655"/>
                  <a:pt x="10724899" y="1420726"/>
                  <a:pt x="10690996" y="1426394"/>
                </a:cubicBezTo>
                <a:cubicBezTo>
                  <a:pt x="10676463" y="1423331"/>
                  <a:pt x="10634514" y="1436908"/>
                  <a:pt x="10624461" y="1444283"/>
                </a:cubicBezTo>
                <a:cubicBezTo>
                  <a:pt x="10601952" y="1468442"/>
                  <a:pt x="10536224" y="1460228"/>
                  <a:pt x="10517208" y="1478947"/>
                </a:cubicBezTo>
                <a:cubicBezTo>
                  <a:pt x="10509508" y="1482271"/>
                  <a:pt x="10505833" y="1468818"/>
                  <a:pt x="10497937" y="1469831"/>
                </a:cubicBezTo>
                <a:lnTo>
                  <a:pt x="10471201" y="1486037"/>
                </a:lnTo>
                <a:lnTo>
                  <a:pt x="10448263" y="1478223"/>
                </a:lnTo>
                <a:lnTo>
                  <a:pt x="10388089" y="1507175"/>
                </a:lnTo>
                <a:cubicBezTo>
                  <a:pt x="10350285" y="1513081"/>
                  <a:pt x="10383281" y="1526586"/>
                  <a:pt x="10333720" y="1515848"/>
                </a:cubicBezTo>
                <a:cubicBezTo>
                  <a:pt x="10286428" y="1526223"/>
                  <a:pt x="10174884" y="1550019"/>
                  <a:pt x="10104338" y="1569424"/>
                </a:cubicBezTo>
                <a:cubicBezTo>
                  <a:pt x="10066963" y="1581564"/>
                  <a:pt x="9967395" y="1605712"/>
                  <a:pt x="9910445" y="1632275"/>
                </a:cubicBezTo>
                <a:cubicBezTo>
                  <a:pt x="9856131" y="1644130"/>
                  <a:pt x="9831118" y="1689967"/>
                  <a:pt x="9770872" y="1688088"/>
                </a:cubicBezTo>
                <a:cubicBezTo>
                  <a:pt x="9769882" y="1691843"/>
                  <a:pt x="9737016" y="1697044"/>
                  <a:pt x="9733849" y="1700034"/>
                </a:cubicBezTo>
                <a:lnTo>
                  <a:pt x="9703714" y="1730093"/>
                </a:lnTo>
                <a:lnTo>
                  <a:pt x="9698351" y="1730377"/>
                </a:lnTo>
                <a:lnTo>
                  <a:pt x="9632895" y="1736363"/>
                </a:lnTo>
                <a:lnTo>
                  <a:pt x="9569107" y="1741010"/>
                </a:lnTo>
                <a:cubicBezTo>
                  <a:pt x="9558961" y="1745882"/>
                  <a:pt x="9548028" y="1750646"/>
                  <a:pt x="9536451" y="1755120"/>
                </a:cubicBezTo>
                <a:lnTo>
                  <a:pt x="9529385" y="1757515"/>
                </a:lnTo>
                <a:lnTo>
                  <a:pt x="9498527" y="1753117"/>
                </a:lnTo>
                <a:lnTo>
                  <a:pt x="9436642" y="1755478"/>
                </a:lnTo>
                <a:lnTo>
                  <a:pt x="9429748" y="1756317"/>
                </a:lnTo>
                <a:lnTo>
                  <a:pt x="9429748" y="1768745"/>
                </a:lnTo>
                <a:lnTo>
                  <a:pt x="9425802" y="1769273"/>
                </a:lnTo>
                <a:cubicBezTo>
                  <a:pt x="9390751" y="1773262"/>
                  <a:pt x="9371406" y="1773457"/>
                  <a:pt x="9349763" y="1776107"/>
                </a:cubicBezTo>
                <a:cubicBezTo>
                  <a:pt x="9314721" y="1782260"/>
                  <a:pt x="9277650" y="1796217"/>
                  <a:pt x="9256503" y="1800699"/>
                </a:cubicBezTo>
                <a:lnTo>
                  <a:pt x="9222873" y="1803003"/>
                </a:lnTo>
                <a:lnTo>
                  <a:pt x="9224095" y="1807355"/>
                </a:lnTo>
                <a:lnTo>
                  <a:pt x="9211603" y="1807675"/>
                </a:lnTo>
                <a:lnTo>
                  <a:pt x="9183719" y="1807781"/>
                </a:lnTo>
                <a:cubicBezTo>
                  <a:pt x="9166319" y="1808439"/>
                  <a:pt x="9117935" y="1807396"/>
                  <a:pt x="9100221" y="1808989"/>
                </a:cubicBezTo>
                <a:cubicBezTo>
                  <a:pt x="9095111" y="1813630"/>
                  <a:pt x="9087224" y="1816160"/>
                  <a:pt x="9077439" y="1817333"/>
                </a:cubicBezTo>
                <a:lnTo>
                  <a:pt x="9055889" y="1817464"/>
                </a:lnTo>
                <a:lnTo>
                  <a:pt x="8930912" y="1828648"/>
                </a:lnTo>
                <a:lnTo>
                  <a:pt x="8913729" y="1829483"/>
                </a:lnTo>
                <a:lnTo>
                  <a:pt x="8904423" y="1833234"/>
                </a:lnTo>
                <a:cubicBezTo>
                  <a:pt x="8897319" y="1833982"/>
                  <a:pt x="8876911" y="1833498"/>
                  <a:pt x="8871099" y="1833979"/>
                </a:cubicBezTo>
                <a:lnTo>
                  <a:pt x="8869557" y="1836113"/>
                </a:lnTo>
                <a:cubicBezTo>
                  <a:pt x="8851043" y="1839524"/>
                  <a:pt x="8781405" y="1850882"/>
                  <a:pt x="8760021" y="1854442"/>
                </a:cubicBezTo>
                <a:cubicBezTo>
                  <a:pt x="8755749" y="1851161"/>
                  <a:pt x="8746183" y="1856343"/>
                  <a:pt x="8741254" y="1857469"/>
                </a:cubicBezTo>
                <a:cubicBezTo>
                  <a:pt x="8740491" y="1855259"/>
                  <a:pt x="8728559" y="1854585"/>
                  <a:pt x="8725039" y="1856552"/>
                </a:cubicBezTo>
                <a:cubicBezTo>
                  <a:pt x="8641157" y="1867333"/>
                  <a:pt x="8683145" y="1845054"/>
                  <a:pt x="8635265" y="1859168"/>
                </a:cubicBezTo>
                <a:cubicBezTo>
                  <a:pt x="8626795" y="1860103"/>
                  <a:pt x="8619931" y="1859212"/>
                  <a:pt x="8613911" y="1857561"/>
                </a:cubicBezTo>
                <a:lnTo>
                  <a:pt x="8604931" y="1854170"/>
                </a:lnTo>
                <a:lnTo>
                  <a:pt x="8570171" y="1860579"/>
                </a:lnTo>
                <a:cubicBezTo>
                  <a:pt x="8553049" y="1862813"/>
                  <a:pt x="8535028" y="1864294"/>
                  <a:pt x="8516537" y="1864971"/>
                </a:cubicBezTo>
                <a:cubicBezTo>
                  <a:pt x="8512388" y="1860455"/>
                  <a:pt x="8497874" y="1866870"/>
                  <a:pt x="8491046" y="1868141"/>
                </a:cubicBezTo>
                <a:cubicBezTo>
                  <a:pt x="8490975" y="1865191"/>
                  <a:pt x="8475847" y="1863778"/>
                  <a:pt x="8470478" y="1866216"/>
                </a:cubicBezTo>
                <a:cubicBezTo>
                  <a:pt x="8357654" y="1876758"/>
                  <a:pt x="8421139" y="1849210"/>
                  <a:pt x="8353433" y="1865729"/>
                </a:cubicBezTo>
                <a:lnTo>
                  <a:pt x="8347675" y="1865075"/>
                </a:lnTo>
                <a:lnTo>
                  <a:pt x="8343939" y="1865677"/>
                </a:lnTo>
                <a:cubicBezTo>
                  <a:pt x="8309852" y="1870841"/>
                  <a:pt x="8272587" y="1875809"/>
                  <a:pt x="8221566" y="1881148"/>
                </a:cubicBezTo>
                <a:cubicBezTo>
                  <a:pt x="8158043" y="1892960"/>
                  <a:pt x="8095547" y="1914042"/>
                  <a:pt x="8066095" y="1919902"/>
                </a:cubicBezTo>
                <a:cubicBezTo>
                  <a:pt x="8058949" y="1919234"/>
                  <a:pt x="8051921" y="1917862"/>
                  <a:pt x="8044849" y="1916308"/>
                </a:cubicBezTo>
                <a:lnTo>
                  <a:pt x="8041142" y="1915506"/>
                </a:lnTo>
                <a:lnTo>
                  <a:pt x="8022159" y="1911521"/>
                </a:lnTo>
                <a:lnTo>
                  <a:pt x="7944932" y="1917265"/>
                </a:lnTo>
                <a:lnTo>
                  <a:pt x="7879011" y="1928570"/>
                </a:lnTo>
                <a:lnTo>
                  <a:pt x="7865529" y="1934399"/>
                </a:lnTo>
                <a:lnTo>
                  <a:pt x="7774801" y="1947969"/>
                </a:lnTo>
                <a:lnTo>
                  <a:pt x="7748398" y="1955982"/>
                </a:lnTo>
                <a:lnTo>
                  <a:pt x="7740684" y="1955717"/>
                </a:lnTo>
                <a:cubicBezTo>
                  <a:pt x="7728362" y="1958584"/>
                  <a:pt x="7714099" y="1968442"/>
                  <a:pt x="7712976" y="1960442"/>
                </a:cubicBezTo>
                <a:lnTo>
                  <a:pt x="7699956" y="1966104"/>
                </a:lnTo>
                <a:lnTo>
                  <a:pt x="7684158" y="1962927"/>
                </a:lnTo>
                <a:cubicBezTo>
                  <a:pt x="7674684" y="1962643"/>
                  <a:pt x="7652105" y="1963177"/>
                  <a:pt x="7643109" y="1964400"/>
                </a:cubicBezTo>
                <a:lnTo>
                  <a:pt x="7630180" y="1970266"/>
                </a:lnTo>
                <a:lnTo>
                  <a:pt x="7609131" y="1971774"/>
                </a:lnTo>
                <a:cubicBezTo>
                  <a:pt x="7596694" y="1971644"/>
                  <a:pt x="7570258" y="1969757"/>
                  <a:pt x="7555555" y="1969491"/>
                </a:cubicBezTo>
                <a:cubicBezTo>
                  <a:pt x="7541460" y="1966540"/>
                  <a:pt x="7530571" y="1964848"/>
                  <a:pt x="7520919" y="1970177"/>
                </a:cubicBezTo>
                <a:cubicBezTo>
                  <a:pt x="7500295" y="1966884"/>
                  <a:pt x="7480780" y="1949401"/>
                  <a:pt x="7456258" y="1960468"/>
                </a:cubicBezTo>
                <a:cubicBezTo>
                  <a:pt x="7434946" y="1957506"/>
                  <a:pt x="7435772" y="1952500"/>
                  <a:pt x="7393047" y="1952408"/>
                </a:cubicBezTo>
                <a:cubicBezTo>
                  <a:pt x="7356520" y="1952860"/>
                  <a:pt x="7236307" y="1958626"/>
                  <a:pt x="7199912" y="1959913"/>
                </a:cubicBezTo>
                <a:cubicBezTo>
                  <a:pt x="7176501" y="1959942"/>
                  <a:pt x="7160098" y="1958343"/>
                  <a:pt x="7146774" y="1956641"/>
                </a:cubicBezTo>
                <a:lnTo>
                  <a:pt x="7122244" y="1953891"/>
                </a:lnTo>
                <a:lnTo>
                  <a:pt x="7032241" y="1962723"/>
                </a:lnTo>
                <a:cubicBezTo>
                  <a:pt x="6997214" y="1965198"/>
                  <a:pt x="6963725" y="1968396"/>
                  <a:pt x="6941492" y="1976868"/>
                </a:cubicBezTo>
                <a:cubicBezTo>
                  <a:pt x="6947015" y="1970398"/>
                  <a:pt x="6923088" y="1965379"/>
                  <a:pt x="6906514" y="1968589"/>
                </a:cubicBezTo>
                <a:cubicBezTo>
                  <a:pt x="6925890" y="1943204"/>
                  <a:pt x="6840983" y="1991464"/>
                  <a:pt x="6826395" y="1974141"/>
                </a:cubicBezTo>
                <a:cubicBezTo>
                  <a:pt x="6825676" y="1990223"/>
                  <a:pt x="6751393" y="2017492"/>
                  <a:pt x="6716431" y="2004297"/>
                </a:cubicBezTo>
                <a:cubicBezTo>
                  <a:pt x="6663167" y="2007518"/>
                  <a:pt x="6625450" y="2020811"/>
                  <a:pt x="6569607" y="2015496"/>
                </a:cubicBezTo>
                <a:cubicBezTo>
                  <a:pt x="6567874" y="2017648"/>
                  <a:pt x="6565034" y="2019449"/>
                  <a:pt x="6561430" y="2020996"/>
                </a:cubicBezTo>
                <a:lnTo>
                  <a:pt x="6549371" y="2024747"/>
                </a:lnTo>
                <a:lnTo>
                  <a:pt x="6547040" y="2024474"/>
                </a:lnTo>
                <a:cubicBezTo>
                  <a:pt x="6537882" y="2024425"/>
                  <a:pt x="6533193" y="2025332"/>
                  <a:pt x="6530482" y="2026659"/>
                </a:cubicBezTo>
                <a:lnTo>
                  <a:pt x="6528565" y="2028600"/>
                </a:lnTo>
                <a:lnTo>
                  <a:pt x="6517741" y="2030558"/>
                </a:lnTo>
                <a:lnTo>
                  <a:pt x="6497855" y="2035650"/>
                </a:lnTo>
                <a:lnTo>
                  <a:pt x="6492785" y="2035444"/>
                </a:lnTo>
                <a:lnTo>
                  <a:pt x="6460692" y="2041321"/>
                </a:lnTo>
                <a:lnTo>
                  <a:pt x="6459609" y="2040851"/>
                </a:lnTo>
                <a:cubicBezTo>
                  <a:pt x="6456451" y="2039933"/>
                  <a:pt x="6452734" y="2039508"/>
                  <a:pt x="6447765" y="2040102"/>
                </a:cubicBezTo>
                <a:cubicBezTo>
                  <a:pt x="6446007" y="2031126"/>
                  <a:pt x="6441093" y="2037380"/>
                  <a:pt x="6426590" y="2039928"/>
                </a:cubicBezTo>
                <a:cubicBezTo>
                  <a:pt x="6423606" y="2033241"/>
                  <a:pt x="6413230" y="2032925"/>
                  <a:pt x="6401693" y="2033537"/>
                </a:cubicBezTo>
                <a:lnTo>
                  <a:pt x="6387141" y="2033161"/>
                </a:lnTo>
                <a:lnTo>
                  <a:pt x="6357846" y="2036782"/>
                </a:lnTo>
                <a:lnTo>
                  <a:pt x="6342914" y="2037585"/>
                </a:lnTo>
                <a:lnTo>
                  <a:pt x="6336300" y="2038781"/>
                </a:lnTo>
                <a:lnTo>
                  <a:pt x="6317178" y="2038968"/>
                </a:lnTo>
                <a:lnTo>
                  <a:pt x="6161427" y="2047338"/>
                </a:lnTo>
                <a:cubicBezTo>
                  <a:pt x="6147824" y="2057658"/>
                  <a:pt x="6118908" y="2077615"/>
                  <a:pt x="6097339" y="2082438"/>
                </a:cubicBezTo>
                <a:cubicBezTo>
                  <a:pt x="6090149" y="2084046"/>
                  <a:pt x="6083776" y="2083972"/>
                  <a:pt x="6079059" y="2081299"/>
                </a:cubicBezTo>
                <a:cubicBezTo>
                  <a:pt x="6063900" y="2082334"/>
                  <a:pt x="6011621" y="2084537"/>
                  <a:pt x="5998439" y="2070958"/>
                </a:cubicBezTo>
                <a:cubicBezTo>
                  <a:pt x="5976443" y="2071759"/>
                  <a:pt x="5925514" y="2069780"/>
                  <a:pt x="5904290" y="2070255"/>
                </a:cubicBezTo>
                <a:cubicBezTo>
                  <a:pt x="5871515" y="2066244"/>
                  <a:pt x="5843986" y="2088249"/>
                  <a:pt x="5814867" y="2079032"/>
                </a:cubicBezTo>
                <a:cubicBezTo>
                  <a:pt x="5792003" y="2070559"/>
                  <a:pt x="5750009" y="2076273"/>
                  <a:pt x="5725743" y="2070558"/>
                </a:cubicBezTo>
                <a:cubicBezTo>
                  <a:pt x="5716432" y="2058355"/>
                  <a:pt x="5667424" y="2047322"/>
                  <a:pt x="5650546" y="2052412"/>
                </a:cubicBezTo>
                <a:cubicBezTo>
                  <a:pt x="5614627" y="2046084"/>
                  <a:pt x="5608108" y="2028306"/>
                  <a:pt x="5581284" y="2023175"/>
                </a:cubicBezTo>
                <a:lnTo>
                  <a:pt x="5572593" y="2018391"/>
                </a:lnTo>
                <a:lnTo>
                  <a:pt x="5548580" y="2016951"/>
                </a:lnTo>
                <a:cubicBezTo>
                  <a:pt x="5523726" y="2017783"/>
                  <a:pt x="5498337" y="2019663"/>
                  <a:pt x="5471173" y="2018786"/>
                </a:cubicBezTo>
                <a:cubicBezTo>
                  <a:pt x="5447687" y="2003020"/>
                  <a:pt x="5353807" y="2022324"/>
                  <a:pt x="5340320" y="2037611"/>
                </a:cubicBezTo>
                <a:cubicBezTo>
                  <a:pt x="5340015" y="2024215"/>
                  <a:pt x="5271937" y="2042455"/>
                  <a:pt x="5254376" y="2042928"/>
                </a:cubicBezTo>
                <a:cubicBezTo>
                  <a:pt x="5248522" y="2043086"/>
                  <a:pt x="5248281" y="2041270"/>
                  <a:pt x="5258035" y="2035649"/>
                </a:cubicBezTo>
                <a:cubicBezTo>
                  <a:pt x="5239374" y="2037214"/>
                  <a:pt x="5220112" y="2030252"/>
                  <a:pt x="5230622" y="2024576"/>
                </a:cubicBezTo>
                <a:cubicBezTo>
                  <a:pt x="5173932" y="2036724"/>
                  <a:pt x="5090262" y="2024645"/>
                  <a:pt x="5026203" y="2030162"/>
                </a:cubicBezTo>
                <a:cubicBezTo>
                  <a:pt x="4991280" y="2016814"/>
                  <a:pt x="5010212" y="2029164"/>
                  <a:pt x="4973988" y="2026668"/>
                </a:cubicBezTo>
                <a:cubicBezTo>
                  <a:pt x="4983896" y="2038955"/>
                  <a:pt x="4930012" y="2019774"/>
                  <a:pt x="4928030" y="2033642"/>
                </a:cubicBezTo>
                <a:cubicBezTo>
                  <a:pt x="4921501" y="2032748"/>
                  <a:pt x="4915238" y="2031445"/>
                  <a:pt x="4908970" y="2030033"/>
                </a:cubicBezTo>
                <a:lnTo>
                  <a:pt x="4905679" y="2029300"/>
                </a:lnTo>
                <a:lnTo>
                  <a:pt x="4892525" y="2028768"/>
                </a:lnTo>
                <a:lnTo>
                  <a:pt x="4888818" y="2025619"/>
                </a:lnTo>
                <a:lnTo>
                  <a:pt x="4869018" y="2022668"/>
                </a:lnTo>
                <a:cubicBezTo>
                  <a:pt x="4861602" y="2022028"/>
                  <a:pt x="4853622" y="2021880"/>
                  <a:pt x="4844804" y="2022527"/>
                </a:cubicBezTo>
                <a:cubicBezTo>
                  <a:pt x="4823110" y="2028022"/>
                  <a:pt x="4789330" y="2021287"/>
                  <a:pt x="4758778" y="2021694"/>
                </a:cubicBezTo>
                <a:lnTo>
                  <a:pt x="4744748" y="2023396"/>
                </a:lnTo>
                <a:lnTo>
                  <a:pt x="4698956" y="2020558"/>
                </a:lnTo>
                <a:cubicBezTo>
                  <a:pt x="4685921" y="2020008"/>
                  <a:pt x="4672392" y="2019718"/>
                  <a:pt x="4658147" y="2019920"/>
                </a:cubicBezTo>
                <a:lnTo>
                  <a:pt x="4631706" y="2021274"/>
                </a:lnTo>
                <a:lnTo>
                  <a:pt x="4624776" y="2020152"/>
                </a:lnTo>
                <a:cubicBezTo>
                  <a:pt x="4612703" y="2020277"/>
                  <a:pt x="4596727" y="2024226"/>
                  <a:pt x="4598150" y="2019429"/>
                </a:cubicBezTo>
                <a:lnTo>
                  <a:pt x="4584588" y="2021092"/>
                </a:lnTo>
                <a:lnTo>
                  <a:pt x="4571203" y="2017263"/>
                </a:lnTo>
                <a:cubicBezTo>
                  <a:pt x="4569736" y="2016374"/>
                  <a:pt x="4568633" y="2015427"/>
                  <a:pt x="4567930" y="2014458"/>
                </a:cubicBezTo>
                <a:lnTo>
                  <a:pt x="4548984" y="2015717"/>
                </a:lnTo>
                <a:lnTo>
                  <a:pt x="4533451" y="2012976"/>
                </a:lnTo>
                <a:lnTo>
                  <a:pt x="4519910" y="2014768"/>
                </a:lnTo>
                <a:lnTo>
                  <a:pt x="4514290" y="2014364"/>
                </a:lnTo>
                <a:lnTo>
                  <a:pt x="4500320" y="2013007"/>
                </a:lnTo>
                <a:cubicBezTo>
                  <a:pt x="4493159" y="2012056"/>
                  <a:pt x="4485144" y="2010910"/>
                  <a:pt x="4476219" y="2009993"/>
                </a:cubicBezTo>
                <a:lnTo>
                  <a:pt x="4468701" y="2009574"/>
                </a:lnTo>
                <a:lnTo>
                  <a:pt x="4452333" y="2004964"/>
                </a:lnTo>
                <a:cubicBezTo>
                  <a:pt x="4440422" y="2001479"/>
                  <a:pt x="4431048" y="1999130"/>
                  <a:pt x="4420644" y="2001021"/>
                </a:cubicBezTo>
                <a:cubicBezTo>
                  <a:pt x="4402911" y="1996519"/>
                  <a:pt x="4390524" y="1983900"/>
                  <a:pt x="4364856" y="1987267"/>
                </a:cubicBezTo>
                <a:cubicBezTo>
                  <a:pt x="4372645" y="1981550"/>
                  <a:pt x="4336350" y="1986575"/>
                  <a:pt x="4332062" y="1980703"/>
                </a:cubicBezTo>
                <a:cubicBezTo>
                  <a:pt x="4330083" y="1975974"/>
                  <a:pt x="4318612" y="1976397"/>
                  <a:pt x="4309876" y="1974653"/>
                </a:cubicBezTo>
                <a:cubicBezTo>
                  <a:pt x="4303650" y="1969824"/>
                  <a:pt x="4259693" y="1965414"/>
                  <a:pt x="4244391" y="1966109"/>
                </a:cubicBezTo>
                <a:cubicBezTo>
                  <a:pt x="4201255" y="1970914"/>
                  <a:pt x="4166558" y="1951471"/>
                  <a:pt x="4132071" y="1954813"/>
                </a:cubicBezTo>
                <a:cubicBezTo>
                  <a:pt x="4123041" y="1954358"/>
                  <a:pt x="4115554" y="1953263"/>
                  <a:pt x="4109069" y="1951778"/>
                </a:cubicBezTo>
                <a:lnTo>
                  <a:pt x="4092908" y="1946662"/>
                </a:lnTo>
                <a:cubicBezTo>
                  <a:pt x="4092707" y="1945539"/>
                  <a:pt x="4092506" y="1944415"/>
                  <a:pt x="4092306" y="1943291"/>
                </a:cubicBezTo>
                <a:lnTo>
                  <a:pt x="4080234" y="1941219"/>
                </a:lnTo>
                <a:lnTo>
                  <a:pt x="4077778" y="1940145"/>
                </a:lnTo>
                <a:cubicBezTo>
                  <a:pt x="4073105" y="1938081"/>
                  <a:pt x="4068339" y="1936119"/>
                  <a:pt x="4062936" y="1934506"/>
                </a:cubicBezTo>
                <a:cubicBezTo>
                  <a:pt x="4048082" y="1947155"/>
                  <a:pt x="4014523" y="1922869"/>
                  <a:pt x="4012506" y="1935475"/>
                </a:cubicBezTo>
                <a:cubicBezTo>
                  <a:pt x="3980228" y="1928812"/>
                  <a:pt x="3986775" y="1942559"/>
                  <a:pt x="3965880" y="1925968"/>
                </a:cubicBezTo>
                <a:cubicBezTo>
                  <a:pt x="3899515" y="1923414"/>
                  <a:pt x="3830855" y="1902158"/>
                  <a:pt x="3765338" y="1906649"/>
                </a:cubicBezTo>
                <a:cubicBezTo>
                  <a:pt x="3780686" y="1902635"/>
                  <a:pt x="3768784" y="1893856"/>
                  <a:pt x="3749493" y="1893071"/>
                </a:cubicBezTo>
                <a:cubicBezTo>
                  <a:pt x="3807776" y="1876857"/>
                  <a:pt x="3656400" y="1898030"/>
                  <a:pt x="3672704" y="1881383"/>
                </a:cubicBezTo>
                <a:cubicBezTo>
                  <a:pt x="3645532" y="1893973"/>
                  <a:pt x="3537791" y="1900656"/>
                  <a:pt x="3530082" y="1883187"/>
                </a:cubicBezTo>
                <a:cubicBezTo>
                  <a:pt x="3479808" y="1875044"/>
                  <a:pt x="3426017" y="1877998"/>
                  <a:pt x="3387664" y="1862579"/>
                </a:cubicBezTo>
                <a:cubicBezTo>
                  <a:pt x="3382649" y="1863935"/>
                  <a:pt x="3377277" y="1864791"/>
                  <a:pt x="3371681" y="1865293"/>
                </a:cubicBezTo>
                <a:lnTo>
                  <a:pt x="3355305" y="1865842"/>
                </a:lnTo>
                <a:lnTo>
                  <a:pt x="3353790" y="1865158"/>
                </a:lnTo>
                <a:cubicBezTo>
                  <a:pt x="3346144" y="1863282"/>
                  <a:pt x="3340687" y="1863057"/>
                  <a:pt x="3336210" y="1863564"/>
                </a:cubicBezTo>
                <a:lnTo>
                  <a:pt x="3331381" y="1864716"/>
                </a:lnTo>
                <a:lnTo>
                  <a:pt x="3319012" y="1864093"/>
                </a:lnTo>
                <a:lnTo>
                  <a:pt x="3293818" y="1864135"/>
                </a:lnTo>
                <a:lnTo>
                  <a:pt x="3289881" y="1862954"/>
                </a:lnTo>
                <a:lnTo>
                  <a:pt x="3253090" y="1861164"/>
                </a:lnTo>
                <a:cubicBezTo>
                  <a:pt x="3253042" y="1860968"/>
                  <a:pt x="3252996" y="1860771"/>
                  <a:pt x="3252949" y="1860574"/>
                </a:cubicBezTo>
                <a:cubicBezTo>
                  <a:pt x="3251799" y="1859213"/>
                  <a:pt x="3249368" y="1858131"/>
                  <a:pt x="3244187" y="1857604"/>
                </a:cubicBezTo>
                <a:cubicBezTo>
                  <a:pt x="3250860" y="1853873"/>
                  <a:pt x="3250577" y="1852999"/>
                  <a:pt x="3246570" y="1852946"/>
                </a:cubicBezTo>
                <a:lnTo>
                  <a:pt x="3237810" y="1853064"/>
                </a:lnTo>
                <a:lnTo>
                  <a:pt x="3230822" y="1855474"/>
                </a:lnTo>
                <a:cubicBezTo>
                  <a:pt x="3206812" y="1862286"/>
                  <a:pt x="3176733" y="1868865"/>
                  <a:pt x="3136549" y="1874037"/>
                </a:cubicBezTo>
                <a:cubicBezTo>
                  <a:pt x="3081163" y="1880168"/>
                  <a:pt x="2902557" y="1900580"/>
                  <a:pt x="2845754" y="1910932"/>
                </a:cubicBezTo>
                <a:cubicBezTo>
                  <a:pt x="2860822" y="1944376"/>
                  <a:pt x="2813389" y="1905358"/>
                  <a:pt x="2786878" y="1917162"/>
                </a:cubicBezTo>
                <a:cubicBezTo>
                  <a:pt x="2766803" y="1917398"/>
                  <a:pt x="2741628" y="1915886"/>
                  <a:pt x="2725298" y="1912340"/>
                </a:cubicBezTo>
                <a:cubicBezTo>
                  <a:pt x="2716680" y="1911427"/>
                  <a:pt x="2707572" y="1911972"/>
                  <a:pt x="2697754" y="1914863"/>
                </a:cubicBezTo>
                <a:cubicBezTo>
                  <a:pt x="2667185" y="1939014"/>
                  <a:pt x="2622149" y="1926211"/>
                  <a:pt x="2568063" y="1936283"/>
                </a:cubicBezTo>
                <a:cubicBezTo>
                  <a:pt x="2552625" y="1932001"/>
                  <a:pt x="2502682" y="1953378"/>
                  <a:pt x="2489784" y="1943720"/>
                </a:cubicBezTo>
                <a:cubicBezTo>
                  <a:pt x="2478524" y="1943155"/>
                  <a:pt x="2467418" y="1949411"/>
                  <a:pt x="2458978" y="1938095"/>
                </a:cubicBezTo>
                <a:cubicBezTo>
                  <a:pt x="2417552" y="1934639"/>
                  <a:pt x="2366376" y="1931293"/>
                  <a:pt x="2318712" y="1934474"/>
                </a:cubicBezTo>
                <a:cubicBezTo>
                  <a:pt x="2296029" y="1936526"/>
                  <a:pt x="2282069" y="1938434"/>
                  <a:pt x="2268709" y="1940521"/>
                </a:cubicBezTo>
                <a:lnTo>
                  <a:pt x="2264080" y="1941232"/>
                </a:lnTo>
                <a:lnTo>
                  <a:pt x="2254684" y="1943524"/>
                </a:lnTo>
                <a:lnTo>
                  <a:pt x="2252523" y="1943004"/>
                </a:lnTo>
                <a:lnTo>
                  <a:pt x="2173350" y="1929202"/>
                </a:lnTo>
                <a:lnTo>
                  <a:pt x="2155266" y="1920267"/>
                </a:lnTo>
                <a:lnTo>
                  <a:pt x="2091013" y="1914631"/>
                </a:lnTo>
                <a:cubicBezTo>
                  <a:pt x="2033357" y="1920614"/>
                  <a:pt x="2070513" y="1905065"/>
                  <a:pt x="2030712" y="1897690"/>
                </a:cubicBezTo>
                <a:cubicBezTo>
                  <a:pt x="1994539" y="1893055"/>
                  <a:pt x="1958569" y="1883188"/>
                  <a:pt x="1908838" y="1892222"/>
                </a:cubicBezTo>
                <a:cubicBezTo>
                  <a:pt x="1897236" y="1896147"/>
                  <a:pt x="1883338" y="1892415"/>
                  <a:pt x="1877796" y="1883887"/>
                </a:cubicBezTo>
                <a:cubicBezTo>
                  <a:pt x="1876842" y="1882419"/>
                  <a:pt x="1876177" y="1880863"/>
                  <a:pt x="1875824" y="1879265"/>
                </a:cubicBezTo>
                <a:cubicBezTo>
                  <a:pt x="1843474" y="1887199"/>
                  <a:pt x="1841511" y="1873818"/>
                  <a:pt x="1823048" y="1881064"/>
                </a:cubicBezTo>
                <a:cubicBezTo>
                  <a:pt x="1792640" y="1872164"/>
                  <a:pt x="1782358" y="1850450"/>
                  <a:pt x="1765736" y="1856578"/>
                </a:cubicBezTo>
                <a:cubicBezTo>
                  <a:pt x="1753024" y="1849107"/>
                  <a:pt x="1745932" y="1828316"/>
                  <a:pt x="1725669" y="1833744"/>
                </a:cubicBezTo>
                <a:cubicBezTo>
                  <a:pt x="1727428" y="1831405"/>
                  <a:pt x="1726953" y="1830157"/>
                  <a:pt x="1725216" y="1829447"/>
                </a:cubicBezTo>
                <a:lnTo>
                  <a:pt x="1721485" y="1828960"/>
                </a:lnTo>
                <a:lnTo>
                  <a:pt x="1717786" y="1832224"/>
                </a:lnTo>
                <a:cubicBezTo>
                  <a:pt x="1703445" y="1843277"/>
                  <a:pt x="1706547" y="1827935"/>
                  <a:pt x="1689907" y="1825425"/>
                </a:cubicBezTo>
                <a:cubicBezTo>
                  <a:pt x="1682338" y="1823445"/>
                  <a:pt x="1685181" y="1820226"/>
                  <a:pt x="1688093" y="1817391"/>
                </a:cubicBezTo>
                <a:lnTo>
                  <a:pt x="1496789" y="1805297"/>
                </a:lnTo>
                <a:cubicBezTo>
                  <a:pt x="1463551" y="1793913"/>
                  <a:pt x="1426345" y="1786892"/>
                  <a:pt x="1392839" y="1758649"/>
                </a:cubicBezTo>
                <a:cubicBezTo>
                  <a:pt x="1386461" y="1750573"/>
                  <a:pt x="1374031" y="1756918"/>
                  <a:pt x="1360872" y="1752441"/>
                </a:cubicBezTo>
                <a:cubicBezTo>
                  <a:pt x="1347711" y="1747963"/>
                  <a:pt x="1332751" y="1735898"/>
                  <a:pt x="1313885" y="1731785"/>
                </a:cubicBezTo>
                <a:cubicBezTo>
                  <a:pt x="1281989" y="1726305"/>
                  <a:pt x="1256405" y="1739744"/>
                  <a:pt x="1247665" y="1727765"/>
                </a:cubicBezTo>
                <a:cubicBezTo>
                  <a:pt x="1231363" y="1728538"/>
                  <a:pt x="1209120" y="1742556"/>
                  <a:pt x="1196850" y="1729622"/>
                </a:cubicBezTo>
                <a:cubicBezTo>
                  <a:pt x="1195195" y="1740224"/>
                  <a:pt x="1178147" y="1721561"/>
                  <a:pt x="1168728" y="1728550"/>
                </a:cubicBezTo>
                <a:cubicBezTo>
                  <a:pt x="1152073" y="1727193"/>
                  <a:pt x="1122804" y="1725926"/>
                  <a:pt x="1096918" y="1721485"/>
                </a:cubicBezTo>
                <a:lnTo>
                  <a:pt x="1094082" y="1720113"/>
                </a:lnTo>
                <a:lnTo>
                  <a:pt x="1040782" y="1721762"/>
                </a:lnTo>
                <a:cubicBezTo>
                  <a:pt x="987172" y="1722352"/>
                  <a:pt x="1023272" y="1708707"/>
                  <a:pt x="955980" y="1719289"/>
                </a:cubicBezTo>
                <a:cubicBezTo>
                  <a:pt x="948995" y="1714208"/>
                  <a:pt x="940521" y="1713816"/>
                  <a:pt x="926108" y="1715917"/>
                </a:cubicBezTo>
                <a:cubicBezTo>
                  <a:pt x="900077" y="1715834"/>
                  <a:pt x="902688" y="1703436"/>
                  <a:pt x="876049" y="1710422"/>
                </a:cubicBezTo>
                <a:cubicBezTo>
                  <a:pt x="881084" y="1703830"/>
                  <a:pt x="826830" y="1706893"/>
                  <a:pt x="839194" y="1700176"/>
                </a:cubicBezTo>
                <a:cubicBezTo>
                  <a:pt x="822548" y="1693764"/>
                  <a:pt x="813674" y="1703628"/>
                  <a:pt x="797112" y="1698014"/>
                </a:cubicBezTo>
                <a:cubicBezTo>
                  <a:pt x="778195" y="1696418"/>
                  <a:pt x="807647" y="1705364"/>
                  <a:pt x="786610" y="1705455"/>
                </a:cubicBezTo>
                <a:cubicBezTo>
                  <a:pt x="761170" y="1704357"/>
                  <a:pt x="760599" y="1716610"/>
                  <a:pt x="741833" y="1700566"/>
                </a:cubicBezTo>
                <a:lnTo>
                  <a:pt x="673985" y="1692278"/>
                </a:lnTo>
                <a:cubicBezTo>
                  <a:pt x="658515" y="1695829"/>
                  <a:pt x="646395" y="1693620"/>
                  <a:pt x="634665" y="1689550"/>
                </a:cubicBezTo>
                <a:cubicBezTo>
                  <a:pt x="599149" y="1689690"/>
                  <a:pt x="567176" y="1683160"/>
                  <a:pt x="527471" y="1679869"/>
                </a:cubicBezTo>
                <a:cubicBezTo>
                  <a:pt x="484099" y="1683240"/>
                  <a:pt x="462693" y="1671949"/>
                  <a:pt x="420260" y="1668475"/>
                </a:cubicBezTo>
                <a:cubicBezTo>
                  <a:pt x="377482" y="1677390"/>
                  <a:pt x="393500" y="1652730"/>
                  <a:pt x="357630" y="1652142"/>
                </a:cubicBezTo>
                <a:cubicBezTo>
                  <a:pt x="298692" y="1659518"/>
                  <a:pt x="359631" y="1643849"/>
                  <a:pt x="269407" y="1643812"/>
                </a:cubicBezTo>
                <a:cubicBezTo>
                  <a:pt x="264204" y="1645215"/>
                  <a:pt x="253436" y="1643159"/>
                  <a:pt x="254769" y="1641013"/>
                </a:cubicBezTo>
                <a:cubicBezTo>
                  <a:pt x="234996" y="1641090"/>
                  <a:pt x="179093" y="1626583"/>
                  <a:pt x="150763" y="1628143"/>
                </a:cubicBezTo>
                <a:cubicBezTo>
                  <a:pt x="96232" y="1619954"/>
                  <a:pt x="68845" y="1629422"/>
                  <a:pt x="29133" y="1626172"/>
                </a:cubicBezTo>
                <a:lnTo>
                  <a:pt x="0" y="16195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 rot="21238989">
            <a:off x="4020457" y="494414"/>
            <a:ext cx="7228114" cy="81740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B88A26"/>
                </a:solidFill>
              </a:rPr>
              <a:t>דרישות לביצוע הבדיקות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4B00D87-5A81-C5E2-8E57-774CC80731B0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02850"/>
              </p:ext>
            </p:extLst>
          </p:nvPr>
        </p:nvGraphicFramePr>
        <p:xfrm>
          <a:off x="2638561" y="2083507"/>
          <a:ext cx="7824788" cy="44866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107604" imgH="4074156" progId="Word.Document.12">
                  <p:link updateAutomatic="1"/>
                </p:oleObj>
              </mc:Choice>
              <mc:Fallback>
                <p:oleObj name="Document" r:id="rId5" imgW="6107604" imgH="4074156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38561" y="2083507"/>
                        <a:ext cx="7824788" cy="44866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15,666 Warehouse Background Man Stock Photos - Free &amp; Royalty-Free Stock  Photos from Dreamstime">
            <a:extLst>
              <a:ext uri="{FF2B5EF4-FFF2-40B4-BE49-F238E27FC236}">
                <a16:creationId xmlns:a16="http://schemas.microsoft.com/office/drawing/2014/main" id="{F65B4D7E-0B52-3D9A-847B-AC164A97B81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3464292" cy="229076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7C96CB1-A5ED-1CC8-1F08-0EC3E299ECA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2443" end="872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41312" y="715743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1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7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0.24115 -0.1169 C 0.20873 -0.09097 0.19987 0.01621 0.14479 0.0044 C 0.05391 0.0419 0.02956 -0.00926 -0.00013 -0.00162 " pathEditMode="relative" rAng="9900000" ptsTypes="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71" y="965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99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400"/>
                            </p:stCondLst>
                            <p:childTnLst>
                              <p:par>
                                <p:cTn id="15" presetID="38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448 0.44444 L 0.08021 0.41597 L 0.02448 0.38935 L 0.08021 0.36088 L 0.02448 0.3324 L 0.08021 0.30578 L 0.02448 0.27731 L 0.08021 0.25069 L 0.02448 0.22222 L 0.08021 0.19375 L 0.02448 0.16713 L 0.08021 0.13865 L 0.02448 0.11203 L 0.08021 0.08356 L 0.02448 0.05509 L 0.08021 0.02847 L 0.02448 2.96296E-6 " pathEditMode="relative" rAng="16200000" ptsTypes="AAAAAAAAAAAAAAAAA"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-2222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4000">
              <a:srgbClr val="AFDCB1"/>
            </a:gs>
            <a:gs pos="20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54984" y="307472"/>
            <a:ext cx="8682032" cy="892552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1571971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EC6132"/>
                </a:solidFill>
              </a:rPr>
              <a:t>תנאי סף לתחילת וסיום בדיקות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86254A-4236-9AAE-43E3-7A478DC9AF7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65423" y="331664"/>
            <a:ext cx="9601723" cy="6079294"/>
            <a:chOff x="4065423" y="331664"/>
            <a:chExt cx="9601723" cy="6079294"/>
          </a:xfrm>
        </p:grpSpPr>
        <p:graphicFrame>
          <p:nvGraphicFramePr>
            <p:cNvPr id="4" name="Object 3">
              <a:extLst>
                <a:ext uri="{FF2B5EF4-FFF2-40B4-BE49-F238E27FC236}">
                  <a16:creationId xmlns:a16="http://schemas.microsoft.com/office/drawing/2014/main" id="{7968DB7F-9988-D4E6-4FC4-021505004265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3337616097"/>
                </p:ext>
              </p:extLst>
            </p:nvPr>
          </p:nvGraphicFramePr>
          <p:xfrm>
            <a:off x="5054649" y="1215044"/>
            <a:ext cx="7432048" cy="18715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7" imgW="6107604" imgH="1508159" progId="Word.Document.12">
                    <p:link updateAutomatic="1"/>
                  </p:oleObj>
                </mc:Choice>
                <mc:Fallback>
                  <p:oleObj name="Document" r:id="rId7" imgW="6107604" imgH="150815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5054649" y="1215044"/>
                          <a:ext cx="7432048" cy="18715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Object 5">
              <a:extLst>
                <a:ext uri="{FF2B5EF4-FFF2-40B4-BE49-F238E27FC236}">
                  <a16:creationId xmlns:a16="http://schemas.microsoft.com/office/drawing/2014/main" id="{D427C99D-AB41-9CA4-3EA5-306FCD076FCD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1981000570"/>
                </p:ext>
              </p:extLst>
            </p:nvPr>
          </p:nvGraphicFramePr>
          <p:xfrm>
            <a:off x="6096000" y="331664"/>
            <a:ext cx="7571146" cy="43932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9" imgW="6221839" imgH="3540189" progId="Word.Document.12">
                    <p:link updateAutomatic="1"/>
                  </p:oleObj>
                </mc:Choice>
                <mc:Fallback>
                  <p:oleObj name="Document" r:id="rId9" imgW="6221839" imgH="354018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6096000" y="331664"/>
                          <a:ext cx="7571146" cy="43932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>
              <a:extLst>
                <a:ext uri="{FF2B5EF4-FFF2-40B4-BE49-F238E27FC236}">
                  <a16:creationId xmlns:a16="http://schemas.microsoft.com/office/drawing/2014/main" id="{C03BA18C-67C3-B974-576E-BDB21FDBBFFE}"/>
                </a:ext>
              </a:extLst>
            </p:cNvPr>
            <p:cNvGraphicFramePr>
              <a:graphicFrameLocks noGrp="1" noDrilldown="1" noChangeAspect="1" noMove="1" noResize="1"/>
            </p:cNvGraphicFramePr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3539928061"/>
                </p:ext>
              </p:extLst>
            </p:nvPr>
          </p:nvGraphicFramePr>
          <p:xfrm>
            <a:off x="4065423" y="5026016"/>
            <a:ext cx="7640694" cy="13849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11" imgW="6279315" imgH="1115526" progId="Word.Document.12">
                    <p:link updateAutomatic="1"/>
                  </p:oleObj>
                </mc:Choice>
                <mc:Fallback>
                  <p:oleObj name="Document" r:id="rId11" imgW="6279315" imgH="1115526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065423" y="5026016"/>
                          <a:ext cx="7640694" cy="138494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7170" name="Picture 2" descr="EditableTemplates - Premium Powerpoint Templates and Business Design  Templates">
            <a:extLst>
              <a:ext uri="{FF2B5EF4-FFF2-40B4-BE49-F238E27FC236}">
                <a16:creationId xmlns:a16="http://schemas.microsoft.com/office/drawing/2014/main" id="{771FCCDC-C0FA-48E7-1BF5-2839CB3FEE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80"/>
          <a:stretch/>
        </p:blipFill>
        <p:spPr bwMode="auto">
          <a:xfrm>
            <a:off x="377690" y="1356050"/>
            <a:ext cx="5373425" cy="30676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6AA5699-EEDE-D42E-97A5-58399DD1DE9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493" end="951.6458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1783" y="702786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6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69 0.42152 L -2.08333E-6 0.0405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1905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19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261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914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4985B7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0000">
              <a:srgbClr val="A9B0DD"/>
            </a:gs>
            <a:gs pos="56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33322" y="238790"/>
            <a:ext cx="5613302" cy="1317031"/>
          </a:xfrm>
          <a:prstGeom prst="rect">
            <a:avLst/>
          </a:prstGeom>
        </p:spPr>
        <p:txBody>
          <a:bodyPr spcFirstLastPara="1" numCol="1" rtlCol="1" anchor="b">
            <a:prstTxWarp prst="textSlant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FEAC22"/>
                </a:solidFill>
              </a:rPr>
              <a:t>בדיקות ש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80719" y="1821526"/>
            <a:ext cx="3187006" cy="1323439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en-US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Security Tests</a:t>
            </a:r>
            <a:r>
              <a:rPr lang="he-IL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 </a:t>
            </a:r>
            <a:endParaRPr lang="en-US" sz="2800" dirty="0">
              <a:solidFill>
                <a:srgbClr val="8E5707"/>
              </a:solidFill>
              <a:latin typeface="Book Antiqua" panose="02040602050305030304" pitchFamily="18" charset="0"/>
            </a:endParaRPr>
          </a:p>
        </p:txBody>
      </p:sp>
      <p:sp>
        <p:nvSpPr>
          <p:cNvPr id="28" name="תיבת טקסט 27">
            <a:extLst>
              <a:ext uri="{FF2B5EF4-FFF2-40B4-BE49-F238E27FC236}">
                <a16:creationId xmlns:a16="http://schemas.microsoft.com/office/drawing/2014/main" id="{7E8A9891-C90F-1A44-BCCD-FBF9D5B431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9786" y="3467100"/>
            <a:ext cx="4717325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Survival &amp; Recovery </a:t>
            </a:r>
          </a:p>
        </p:txBody>
      </p:sp>
      <p:sp>
        <p:nvSpPr>
          <p:cNvPr id="29" name="תיבת טקסט 28">
            <a:extLst>
              <a:ext uri="{FF2B5EF4-FFF2-40B4-BE49-F238E27FC236}">
                <a16:creationId xmlns:a16="http://schemas.microsoft.com/office/drawing/2014/main" id="{FAFD78FA-6465-0C43-8B01-016E3D123F6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480458" y="2151292"/>
            <a:ext cx="2975982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Integration </a:t>
            </a: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864099" y="3658419"/>
            <a:ext cx="2499402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Interface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953560" y="5138539"/>
            <a:ext cx="3671198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Compatibility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4BB271-CAA4-F7F8-8F00-25A51BD6442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85070" y="2006010"/>
            <a:ext cx="11096311" cy="4128783"/>
            <a:chOff x="385070" y="2006010"/>
            <a:chExt cx="11096311" cy="412878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8ED126E-F1BA-28E2-F6F0-9D50DFF1D5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479955" y="2006011"/>
              <a:ext cx="1001426" cy="4128782"/>
              <a:chOff x="10077071" y="1759334"/>
              <a:chExt cx="1133421" cy="4236342"/>
            </a:xfrm>
          </p:grpSpPr>
          <p:pic>
            <p:nvPicPr>
              <p:cNvPr id="3" name="תמונה 2">
                <a:extLst>
                  <a:ext uri="{FF2B5EF4-FFF2-40B4-BE49-F238E27FC236}">
                    <a16:creationId xmlns:a16="http://schemas.microsoft.com/office/drawing/2014/main" id="{043C22A2-0C6B-9D4C-AB4B-97AAE4D515B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077073" y="1759334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6" name="תמונה 5">
                <a:extLst>
                  <a:ext uri="{FF2B5EF4-FFF2-40B4-BE49-F238E27FC236}">
                    <a16:creationId xmlns:a16="http://schemas.microsoft.com/office/drawing/2014/main" id="{E430554F-A124-D14E-9DA4-83B34DC3B9C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077072" y="3354670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18" name="תמונה 17">
                <a:extLst>
                  <a:ext uri="{FF2B5EF4-FFF2-40B4-BE49-F238E27FC236}">
                    <a16:creationId xmlns:a16="http://schemas.microsoft.com/office/drawing/2014/main" id="{3FC57B1A-E0C7-9C40-A929-5FE89DBB233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flipH="1">
                <a:off x="10077071" y="4730540"/>
                <a:ext cx="1133420" cy="1265136"/>
              </a:xfrm>
              <a:prstGeom prst="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8E4D694-FD49-0C39-58D8-E36D80BC3EF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85070" y="2006010"/>
              <a:ext cx="1075824" cy="3799345"/>
              <a:chOff x="-109040" y="1842688"/>
              <a:chExt cx="1176355" cy="3822222"/>
            </a:xfrm>
          </p:grpSpPr>
          <p:pic>
            <p:nvPicPr>
              <p:cNvPr id="32" name="תמונה 31">
                <a:extLst>
                  <a:ext uri="{FF2B5EF4-FFF2-40B4-BE49-F238E27FC236}">
                    <a16:creationId xmlns:a16="http://schemas.microsoft.com/office/drawing/2014/main" id="{8F36344A-7476-7340-AFE8-8E42791531F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24488" y="1842688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34" name="תמונה 33">
                <a:extLst>
                  <a:ext uri="{FF2B5EF4-FFF2-40B4-BE49-F238E27FC236}">
                    <a16:creationId xmlns:a16="http://schemas.microsoft.com/office/drawing/2014/main" id="{B3A33431-125E-F54F-8807-413DA9657E6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-109040" y="3269494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4" name="תמונה 3">
                <a:extLst>
                  <a:ext uri="{FF2B5EF4-FFF2-40B4-BE49-F238E27FC236}">
                    <a16:creationId xmlns:a16="http://schemas.microsoft.com/office/drawing/2014/main" id="{67139B03-670B-F646-B2D3-909FDBD7A4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9215" y="4849618"/>
                <a:ext cx="815292" cy="8152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pic>
        </p:grpSp>
      </p:grpSp>
      <p:sp>
        <p:nvSpPr>
          <p:cNvPr id="20" name="תיבת טקסט 19">
            <a:extLst>
              <a:ext uri="{FF2B5EF4-FFF2-40B4-BE49-F238E27FC236}">
                <a16:creationId xmlns:a16="http://schemas.microsoft.com/office/drawing/2014/main" id="{BBFC0FE6-C712-4D43-983B-33BC9BC999F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712687" y="4979324"/>
            <a:ext cx="2206976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C.R.U.D</a:t>
            </a:r>
          </a:p>
        </p:txBody>
      </p:sp>
      <p:pic>
        <p:nvPicPr>
          <p:cNvPr id="9218" name="Picture 2" descr="Top 10 Warehouse PowerPoint Presentation Templates in 2025">
            <a:extLst>
              <a:ext uri="{FF2B5EF4-FFF2-40B4-BE49-F238E27FC236}">
                <a16:creationId xmlns:a16="http://schemas.microsoft.com/office/drawing/2014/main" id="{DE1407D3-956E-CD98-7691-D92A3272D1F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72" b="12768"/>
          <a:stretch/>
        </p:blipFill>
        <p:spPr bwMode="auto">
          <a:xfrm>
            <a:off x="81456" y="148070"/>
            <a:ext cx="4957465" cy="17306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Recording">
            <a:hlinkClick r:id="" action="ppaction://media"/>
            <a:extLst>
              <a:ext uri="{FF2B5EF4-FFF2-40B4-BE49-F238E27FC236}">
                <a16:creationId xmlns:a16="http://schemas.microsoft.com/office/drawing/2014/main" id="{F94F56F8-134D-6FDF-BD5B-3F1D7BC2B2B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370" end="677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34637" y="6858000"/>
            <a:ext cx="531813" cy="531813"/>
          </a:xfrm>
          <a:prstGeom prst="rect">
            <a:avLst/>
          </a:prstGeom>
        </p:spPr>
      </p:pic>
      <p:pic>
        <p:nvPicPr>
          <p:cNvPr id="9" name="Recording (2)">
            <a:hlinkClick r:id="" action="ppaction://media"/>
            <a:extLst>
              <a:ext uri="{FF2B5EF4-FFF2-40B4-BE49-F238E27FC236}">
                <a16:creationId xmlns:a16="http://schemas.microsoft.com/office/drawing/2014/main" id="{B0E774C5-E1B1-99EE-3772-7CC306D722B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626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76148" y="6915694"/>
            <a:ext cx="531813" cy="531813"/>
          </a:xfrm>
          <a:prstGeom prst="rect">
            <a:avLst/>
          </a:prstGeom>
        </p:spPr>
      </p:pic>
      <p:pic>
        <p:nvPicPr>
          <p:cNvPr id="14" name="Luna">
            <a:hlinkClick r:id="" action="ppaction://media"/>
            <a:extLst>
              <a:ext uri="{FF2B5EF4-FFF2-40B4-BE49-F238E27FC236}">
                <a16:creationId xmlns:a16="http://schemas.microsoft.com/office/drawing/2014/main" id="{E41DA985-AE55-18ED-7C8B-5AE67BEC4F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6"/>
          <a:srcRect t="25972" b="17546"/>
          <a:stretch/>
        </p:blipFill>
        <p:spPr>
          <a:xfrm>
            <a:off x="4620484" y="2235089"/>
            <a:ext cx="2943780" cy="29558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6784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1.48148E-6 L 1.45833E-6 0.7206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01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152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00"/>
                            </p:stCondLst>
                            <p:childTnLst>
                              <p:par>
                                <p:cTn id="1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9" dur="985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053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2053"/>
                            </p:stCondLst>
                            <p:childTnLst>
                              <p:par>
                                <p:cTn id="36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7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7033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4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video>
              <p:cMediaNode vol="80000">
                <p:cTn id="4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  <p:bldLst>
      <p:bldP spid="12" grpId="0"/>
      <p:bldP spid="26" grpId="0"/>
      <p:bldP spid="28" grpId="0"/>
      <p:bldP spid="29" grpId="0"/>
      <p:bldP spid="7" grpId="0"/>
      <p:bldP spid="30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rgbClr val="EDECE6"/>
            </a:gs>
            <a:gs pos="0">
              <a:srgbClr val="D1D5DF"/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235199" y="879010"/>
            <a:ext cx="7721602" cy="1631892"/>
          </a:xfrm>
          <a:prstGeom prst="rect">
            <a:avLst/>
          </a:prstGeom>
        </p:spPr>
        <p:txBody>
          <a:bodyPr spcFirstLastPara="1" numCol="1" rtlCol="1" anchor="b">
            <a:prstTxWarp prst="textArch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017D76"/>
                </a:solidFill>
              </a:rPr>
              <a:t>בדיקות שלא 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184714" y="2065760"/>
            <a:ext cx="1465002" cy="523220"/>
          </a:xfrm>
          <a:prstGeom prst="rect">
            <a:avLst/>
          </a:prstGeom>
        </p:spPr>
        <p:txBody>
          <a:bodyPr rtlCol="1" anchor="ctr">
            <a:no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he-IL" sz="3600" dirty="0">
                <a:solidFill>
                  <a:srgbClr val="F4B184"/>
                </a:solidFill>
              </a:rPr>
              <a:t>GUI</a:t>
            </a:r>
            <a:endParaRPr lang="en-US" sz="3600" dirty="0">
              <a:solidFill>
                <a:srgbClr val="F4B184"/>
              </a:solidFill>
            </a:endParaRP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56231" y="2065760"/>
            <a:ext cx="1699792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Load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222276" y="5840312"/>
            <a:ext cx="4275867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Accessibility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7A5979F-4693-FC41-93B8-AC05F420375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224" y="1749617"/>
            <a:ext cx="1522570" cy="1522570"/>
          </a:xfrm>
          <a:prstGeom prst="rect">
            <a:avLst/>
          </a:prstGeom>
        </p:spPr>
      </p:pic>
      <p:pic>
        <p:nvPicPr>
          <p:cNvPr id="8" name="תמונה 7">
            <a:extLst>
              <a:ext uri="{FF2B5EF4-FFF2-40B4-BE49-F238E27FC236}">
                <a16:creationId xmlns:a16="http://schemas.microsoft.com/office/drawing/2014/main" id="{173D342C-B056-7C4D-AF21-A647FE4208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2964" y="1548807"/>
            <a:ext cx="1852590" cy="1767665"/>
          </a:xfrm>
          <a:prstGeom prst="rect">
            <a:avLst/>
          </a:prstGeom>
        </p:spPr>
      </p:pic>
      <p:pic>
        <p:nvPicPr>
          <p:cNvPr id="15" name="תמונה 14">
            <a:extLst>
              <a:ext uri="{FF2B5EF4-FFF2-40B4-BE49-F238E27FC236}">
                <a16:creationId xmlns:a16="http://schemas.microsoft.com/office/drawing/2014/main" id="{C64D6F88-45BD-E84B-89B2-B9EC6C1238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2051" y="3611432"/>
            <a:ext cx="2022917" cy="202291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CA6C9AD-8316-254B-979E-F0A83E4753C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43667" y="3611432"/>
            <a:ext cx="7511935" cy="2752100"/>
            <a:chOff x="152400" y="2543694"/>
            <a:chExt cx="12192000" cy="4466705"/>
          </a:xfrm>
        </p:grpSpPr>
        <p:pic>
          <p:nvPicPr>
            <p:cNvPr id="8194" name="Picture 2" descr="Storage unit PowerPoint presentation outlet slide">
              <a:extLst>
                <a:ext uri="{FF2B5EF4-FFF2-40B4-BE49-F238E27FC236}">
                  <a16:creationId xmlns:a16="http://schemas.microsoft.com/office/drawing/2014/main" id="{811B644F-B356-B6AB-3E1F-4438B5AA3B1C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869"/>
            <a:stretch/>
          </p:blipFill>
          <p:spPr bwMode="auto">
            <a:xfrm>
              <a:off x="152400" y="2543694"/>
              <a:ext cx="12192000" cy="44667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7C4B54-7280-AB55-2B46-4A447965EA4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728364" y="3684236"/>
              <a:ext cx="1297721" cy="582838"/>
            </a:xfrm>
            <a:prstGeom prst="rect">
              <a:avLst/>
            </a:prstGeom>
            <a:solidFill>
              <a:srgbClr val="F4B1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EG"/>
            </a:p>
          </p:txBody>
        </p:sp>
      </p:grpSp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9E469410-1BDE-3D5B-ABDB-8E74DE6F578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884" end="565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219075" y="7153275"/>
            <a:ext cx="531813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3F3F292B-B2DA-FF79-68F5-A901B94DA9E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292" end="598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519831" y="719815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61B31995-F37A-CE37-872C-8C9522B75A8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rcRect t="25587" b="19146"/>
          <a:stretch/>
        </p:blipFill>
        <p:spPr>
          <a:xfrm>
            <a:off x="5078729" y="1122367"/>
            <a:ext cx="2533286" cy="24890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2838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164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368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1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2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68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680"/>
                            </p:stCondLst>
                            <p:childTnLst>
                              <p:par>
                                <p:cTn id="38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9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1" dur="3153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44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26" grpId="0"/>
      <p:bldP spid="7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92C5E11_9A39_432C_9476_22394D7E3B6B&quot;,&quot;SourceFullName&quot;:&quot;D:\\MegaDrive\\אישי\\אישי\\ECOM - QA קורס\\חומרי לימוד\\Meytal\\פרויקט 1 - אוסאמה\\PROJECT GITHUB\\השינויים שלי\\גאנט.xlsx!ניהול מחסן גאנט!R1C2:R17C46&quot;,&quot;LastUpdate&quot;:&quot;2025-05-04 9:37 AM&quot;,&quot;UpdatedBy&quot;:&quot;osama&quot;,&quot;IsLinked&quot;:false,&quot;IsBrokenLink&quot;:false,&quot;Type&quot;:2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4BDDD5_A826_4910_BCA7_D3CE6C0F2153&quot;,&quot;SourceFullName&quot;:&quot;D:\\MegaDrive\\אישי\\אישי\\ECOM - QA קורס\\חומרי לימוד\\Meytal\\פרויקט 1 - אוסאמה\\PROJECT GITHUB\\השינויים שלי\\מסמך בדיקות STP.docx!OLE_LINK1&quot;,&quot;LastUpdate&quot;:&quot;2025-05-04 9:50 AM&quot;,&quot;UpdatedBy&quot;:&quot;osama&quot;,&quot;IsLinked&quot;:false,&quot;IsBrokenLink&quot;:false,&quot;Type&quot;:2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2994ED_CDDE_422B_BD80_A1DB4DC5D63C&quot;,&quot;SourceFullName&quot;:&quot;D:\\MegaDrive\\אישי\\אישי\\ECOM - QA קורס\\חומרי לימוד\\Meytal\\פרויקט 1 - אוסאמה\\PROJECT GITHUB\\השינויים שלי\\מסמך בדיקות STP.docx!OLE_LINK5&quot;,&quot;LastUpdate&quot;:&quot;2025-05-04 10:01 AM&quot;,&quot;UpdatedBy&quot;:&quot;osama&quot;,&quot;IsLinked&quot;:false,&quot;IsBrokenLink&quot;:false,&quot;Type&quot;:2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727F55F_8977_445E_98B5_D18661889E86&quot;,&quot;SourceFullName&quot;:&quot;D:\\MegaDrive\\אישי\\אישי\\ECOM - QA קורס\\חומרי לימוד\\Meytal\\פרויקט 1 - אוסאמה\\PROJECT GITHUB\\השינויים שלי\\מסמך בדיקות STP.docx!OLE_LINK6&quot;,&quot;LastUpdate&quot;:&quot;2025-05-04 10:02 AM&quot;,&quot;UpdatedBy&quot;:&quot;osama&quot;,&quot;IsLinked&quot;:false,&quot;IsBrokenLink&quot;:false,&quot;Type&quot;:2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836BC6A_E853_42D3_B93E_AE2EA5F101B7&quot;,&quot;SourceFullName&quot;:&quot;D:\\MegaDrive\\אישי\\אישי\\ECOM - QA קורס\\חומרי לימוד\\Meytal\\פרויקט 1 - אוסאמה\\PROJECT GITHUB\\השינויים שלי\\מסמך בדיקות STP.docx!OLE_LINK7&quot;,&quot;LastUpdate&quot;:&quot;2025-05-04 10:03 AM&quot;,&quot;UpdatedBy&quot;:&quot;osama&quot;,&quot;IsLinked&quot;:false,&quot;IsBrokenLink&quot;:false,&quot;Type&quot;:2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6843682_973E_45FF_B0F4_0C83A318F24A&quot;,&quot;SourceFullName&quot;:&quot;D:\\MegaDrive\\אישי\\אישי\\ECOM - QA קורס\\חומרי לימוד\\Meytal\\פרויקט 1 - אוסאמה\\PROJECT GITHUB\\השינויים שלי\\מסמך בדיקות STP.docx!OLE_LINK3&quot;,&quot;LastUpdate&quot;:&quot;2025-05-04 9:55 AM&quot;,&quot;UpdatedBy&quot;:&quot;osama&quot;,&quot;IsLinked&quot;:false,&quot;IsBrokenLink&quot;:false,&quot;Type&quot;:2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B23FEF_A11E_4F32_807C_45CACF00334E&quot;,&quot;SourceFullName&quot;:&quot;D:\\MegaDrive\\אישי\\אישי\\ECOM - QA קורס\\חומרי לימוד\\Meytal\\פרויקט 1 - אוסאמה\\PROJECT GITHUB\\השינויים שלי\\מסמך בדיקות STP.docx!OLE_LINK4&quot;,&quot;LastUpdate&quot;:&quot;2025-05-04 9:55 AM&quot;,&quot;UpdatedBy&quot;:&quot;osama&quot;,&quot;IsLinked&quot;:false,&quot;IsBrokenLink&quot;:false,&quot;Type&quot;:2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541D1FA_7D76_43D0_9858_05FD33CDD71A&quot;,&quot;SourceFullName&quot;:&quot;D:\\MegaDrive\\אישי\\אישי\\ECOM - QA קורס\\חומרי לימוד\\Meytal\\פרויקט 1 - אוסאמה\\PROJECT GITHUB\\השינויים שלי\\מסמך בדיקות STP.docx!OLE_LINK2&quot;,&quot;LastUpdate&quot;:&quot;2025-05-04 9:52 AM&quot;,&quot;UpdatedBy&quot;:&quot;osama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4</TotalTime>
  <Words>139</Words>
  <Application>Microsoft Office PowerPoint</Application>
  <PresentationFormat>Widescreen</PresentationFormat>
  <Paragraphs>42</Paragraphs>
  <Slides>12</Slides>
  <Notes>0</Notes>
  <HiddenSlides>0</HiddenSlides>
  <MMClips>26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8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Book Antiqua</vt:lpstr>
      <vt:lpstr>Calibri</vt:lpstr>
      <vt:lpstr>Calibri Light</vt:lpstr>
      <vt:lpstr>David</vt:lpstr>
      <vt:lpstr>ערכת נושא Office</vt:lpstr>
      <vt:lpstr>file:///D:\MegaDrive\אישי\אישי\ECOM%20-%20QA%20קורס\חומרי%20לימוד\Meytal\פרויקט%201%20-%20אוסאמה\PROJECT%20GITHUB\השינויים%20שלי\גאנט.xlsx!ניהול%20מחסן%20גאנט!R1C2:R17C46</vt:lpstr>
      <vt:lpstr>file:///D:\MegaDrive\אישי\אישי\ECOM%20-%20QA%20קורס\חומרי%20לימוד\Meytal\פרויקט%201%20-%20אוסאמה\PROJECT%20GITHUB\השינויים%20שלי\מסמך%20בדיקות%20STP.docx!OLE_LINK1</vt:lpstr>
      <vt:lpstr>file:///D:\MegaDrive\אישי\אישי\ECOM%20-%20QA%20קורס\חומרי%20לימוד\Meytal\פרויקט%201%20-%20אוסאמה\PROJECT%20GITHUB\השינויים%20שלי\מסמך%20בדיקות%20STP.docx!OLE_LINK5</vt:lpstr>
      <vt:lpstr>file:///D:\MegaDrive\אישי\אישי\ECOM%20-%20QA%20קורס\חומרי%20לימוד\Meytal\פרויקט%201%20-%20אוסאמה\PROJECT%20GITHUB\השינויים%20שלי\מסמך%20בדיקות%20STP.docx!OLE_LINK6</vt:lpstr>
      <vt:lpstr>file:///D:\MegaDrive\אישי\אישי\ECOM%20-%20QA%20קורס\חומרי%20לימוד\Meytal\פרויקט%201%20-%20אוסאמה\PROJECT%20GITHUB\השינויים%20שלי\מסמך%20בדיקות%20STP.docx!OLE_LINK7</vt:lpstr>
      <vt:lpstr>file:///D:\MegaDrive\אישי\אישי\ECOM%20-%20QA%20קורס\חומרי%20לימוד\Meytal\פרויקט%201%20-%20אוסאמה\PROJECT%20GITHUB\השינויים%20שלי\מסמך%20בדיקות%20STP.docx!OLE_LINK3</vt:lpstr>
      <vt:lpstr>file:///D:\MegaDrive\אישי\אישי\ECOM%20-%20QA%20קורס\חומרי%20לימוד\Meytal\פרויקט%201%20-%20אוסאמה\PROJECT%20GITHUB\השינויים%20שלי\מסמך%20בדיקות%20STP.docx!OLE_LINK4</vt:lpstr>
      <vt:lpstr>file:///D:\MegaDrive\אישי\אישי\ECOM%20-%20QA%20קורס\חומרי%20לימוד\Meytal\פרויקט%201%20-%20אוסאמה\PROJECT%20GITHUB\השינויים%20שלי\מסמך%20בדיקות%20STP.docx!OLE_LINK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Adasha Chai</dc:creator>
  <cp:lastModifiedBy>Osama Slaieh</cp:lastModifiedBy>
  <cp:revision>68</cp:revision>
  <dcterms:created xsi:type="dcterms:W3CDTF">2022-05-19T14:23:39Z</dcterms:created>
  <dcterms:modified xsi:type="dcterms:W3CDTF">2025-06-03T19:04:05Z</dcterms:modified>
</cp:coreProperties>
</file>